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660" r:id="rId5"/>
  </p:sldMasterIdLst>
  <p:notesMasterIdLst>
    <p:notesMasterId r:id="rId17"/>
  </p:notesMasterIdLst>
  <p:handoutMasterIdLst>
    <p:handoutMasterId r:id="rId18"/>
  </p:handoutMasterIdLst>
  <p:sldIdLst>
    <p:sldId id="2147471623" r:id="rId6"/>
    <p:sldId id="2147483638" r:id="rId7"/>
    <p:sldId id="2147483637" r:id="rId8"/>
    <p:sldId id="2147483641" r:id="rId9"/>
    <p:sldId id="2147483640" r:id="rId10"/>
    <p:sldId id="2147483636" r:id="rId11"/>
    <p:sldId id="2147471637" r:id="rId12"/>
    <p:sldId id="2147483631" r:id="rId13"/>
    <p:sldId id="2147483632" r:id="rId14"/>
    <p:sldId id="2147483634" r:id="rId15"/>
    <p:sldId id="2147483635" r:id="rId16"/>
  </p:sldIdLst>
  <p:sldSz cx="12192000" cy="6858000"/>
  <p:notesSz cx="7010400" cy="92964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gram Updates" id="{35269195-3FC2-8746-9907-2531F9FA2975}">
          <p14:sldIdLst>
            <p14:sldId id="2147471623"/>
            <p14:sldId id="2147483638"/>
            <p14:sldId id="2147483637"/>
            <p14:sldId id="2147483641"/>
            <p14:sldId id="2147483640"/>
            <p14:sldId id="2147483636"/>
            <p14:sldId id="2147471637"/>
            <p14:sldId id="2147483631"/>
            <p14:sldId id="2147483632"/>
            <p14:sldId id="2147483634"/>
            <p14:sldId id="214748363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0F5204-07F3-CF35-7EF1-D8B1907CD4C8}" name="Prabhakaran, Praveen (CCI-Atlanta)" initials="P(" userId="S::praveen.prabhakaran@cox.com::7d888ac5-300c-4679-82d5-157e6386ea4a" providerId="AD"/>
  <p188:author id="{425ED765-A803-93D7-D883-DB2AC28F4656}" name="Patel, Adarsh (CCI-Atlanta)" initials="AP" userId="S::Adarsh.Patel@cox.com::7af17255-eb35-4745-8cd0-1872a692d2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  <p:cmAuthor id="2" name="Fakhraee, Farrah (CCI-Atlanta)" initials="F(" lastIdx="25" clrIdx="1">
    <p:extLst>
      <p:ext uri="{19B8F6BF-5375-455C-9EA6-DF929625EA0E}">
        <p15:presenceInfo xmlns:p15="http://schemas.microsoft.com/office/powerpoint/2012/main" userId="S::farrah.fakhraee@cox.com::be1abb38-cabf-4804-aa7b-b791bed419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81"/>
    <a:srgbClr val="009AE0"/>
    <a:srgbClr val="FFFFFF"/>
    <a:srgbClr val="FAFAFA"/>
    <a:srgbClr val="00A846"/>
    <a:srgbClr val="3DC353"/>
    <a:srgbClr val="FFCC99"/>
    <a:srgbClr val="FEB4A0"/>
    <a:srgbClr val="B6E8BE"/>
    <a:srgbClr val="919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ECC612-B146-0C43-9207-EA92CC4C0EB0}" v="1" dt="2024-11-04T16:11:48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74" autoAdjust="0"/>
    <p:restoredTop sz="93566" autoAdjust="0"/>
  </p:normalViewPr>
  <p:slideViewPr>
    <p:cSldViewPr snapToGrid="0">
      <p:cViewPr varScale="1">
        <p:scale>
          <a:sx n="88" d="100"/>
          <a:sy n="88" d="100"/>
        </p:scale>
        <p:origin x="466" y="62"/>
      </p:cViewPr>
      <p:guideLst>
        <p:guide orient="horz" pos="2160"/>
        <p:guide pos="384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/>
      <dgm:spPr/>
      <dgm:t>
        <a:bodyPr/>
        <a:lstStyle/>
        <a:p>
          <a:r>
            <a:rPr lang="en-US" dirty="0"/>
            <a:t>Stakeholder Review</a:t>
          </a:r>
        </a:p>
        <a:p>
          <a:r>
            <a:rPr lang="en-US" b="1" dirty="0"/>
            <a:t>Dec 5</a:t>
          </a:r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endParaRPr lang="en-US"/>
        </a:p>
      </dgm:t>
    </dgm:pt>
    <dgm:pt modelId="{E8A96DFF-C1EF-FD43-9B72-17230B5CAE92}" type="sibTrans" cxnId="{47FF049F-AEDA-BA4A-8ECE-971324E50992}">
      <dgm:prSet/>
      <dgm:spPr/>
      <dgm:t>
        <a:bodyPr/>
        <a:lstStyle/>
        <a:p>
          <a:endParaRPr lang="en-US" dirty="0"/>
        </a:p>
      </dgm:t>
    </dgm:pt>
    <dgm:pt modelId="{3F729957-727A-764C-B27D-9D4AE217C4B6}">
      <dgm:prSet phldrT="[Text]"/>
      <dgm:spPr/>
      <dgm:t>
        <a:bodyPr/>
        <a:lstStyle/>
        <a:p>
          <a:r>
            <a:rPr lang="en-US" dirty="0"/>
            <a:t>Ingest all the markets data</a:t>
          </a:r>
        </a:p>
      </dgm:t>
    </dgm:pt>
    <dgm:pt modelId="{8915A0D1-652E-B844-8383-FD5DB617B2FB}" type="parTrans" cxnId="{1DEA568E-544E-814F-A196-81FE9F0D5419}">
      <dgm:prSet/>
      <dgm:spPr/>
      <dgm:t>
        <a:bodyPr/>
        <a:lstStyle/>
        <a:p>
          <a:endParaRPr lang="en-US"/>
        </a:p>
      </dgm:t>
    </dgm:pt>
    <dgm:pt modelId="{AF3D86D8-378B-974B-A5CF-B8EE86592238}" type="sibTrans" cxnId="{1DEA568E-544E-814F-A196-81FE9F0D5419}">
      <dgm:prSet/>
      <dgm:spPr/>
      <dgm:t>
        <a:bodyPr/>
        <a:lstStyle/>
        <a:p>
          <a:endParaRPr lang="en-US"/>
        </a:p>
      </dgm:t>
    </dgm:pt>
    <dgm:pt modelId="{6C8C6840-F200-7E45-B7D6-73ED3967F136}">
      <dgm:prSet phldrT="[Text]"/>
      <dgm:spPr/>
      <dgm:t>
        <a:bodyPr anchor="t"/>
        <a:lstStyle/>
        <a:p>
          <a:pPr algn="l"/>
          <a:r>
            <a:rPr lang="en-US" dirty="0"/>
            <a:t>Production Go Live ( Soft Launch)</a:t>
          </a:r>
        </a:p>
        <a:p>
          <a:pPr algn="l"/>
          <a:r>
            <a:rPr lang="en-US" b="1" dirty="0"/>
            <a:t>Dec 6</a:t>
          </a:r>
        </a:p>
        <a:p>
          <a:pPr algn="l"/>
          <a:r>
            <a:rPr lang="en-US" dirty="0"/>
            <a:t>Publish dashboard to tableau </a:t>
          </a:r>
          <a:endParaRPr lang="en-US" b="1" dirty="0"/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endParaRPr lang="en-US"/>
        </a:p>
      </dgm:t>
    </dgm:pt>
    <dgm:pt modelId="{18C336B2-6B09-9943-A629-94D26EAB4E64}" type="sibTrans" cxnId="{C6686EF8-E73B-7240-9725-63E30A0685D2}">
      <dgm:prSet/>
      <dgm:spPr/>
      <dgm:t>
        <a:bodyPr/>
        <a:lstStyle/>
        <a:p>
          <a:endParaRPr lang="en-US" dirty="0"/>
        </a:p>
      </dgm:t>
    </dgm:pt>
    <dgm:pt modelId="{3B3DDA34-D2BB-644F-8D2B-1A6A0FCFEA0D}">
      <dgm:prSet phldrT="[Text]"/>
      <dgm:spPr/>
      <dgm:t>
        <a:bodyPr/>
        <a:lstStyle/>
        <a:p>
          <a:r>
            <a:rPr lang="en-US" dirty="0"/>
            <a:t>Business Review</a:t>
          </a:r>
        </a:p>
        <a:p>
          <a:r>
            <a:rPr lang="en-US" b="1" dirty="0"/>
            <a:t>Dec 20</a:t>
          </a:r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endParaRPr lang="en-US"/>
        </a:p>
      </dgm:t>
    </dgm:pt>
    <dgm:pt modelId="{1ABE6D41-26CF-0C4F-AA00-33DEB4472C50}" type="sibTrans" cxnId="{77491BF2-C7BD-6C49-8FBD-C9FD2C19E6E8}">
      <dgm:prSet/>
      <dgm:spPr/>
      <dgm:t>
        <a:bodyPr/>
        <a:lstStyle/>
        <a:p>
          <a:endParaRPr lang="en-US" dirty="0"/>
        </a:p>
      </dgm:t>
    </dgm:pt>
    <dgm:pt modelId="{C0A2CD1C-249E-204D-883E-1219B13ECE84}">
      <dgm:prSet phldrT="[Text]"/>
      <dgm:spPr/>
      <dgm:t>
        <a:bodyPr/>
        <a:lstStyle/>
        <a:p>
          <a:r>
            <a:rPr lang="en-US" dirty="0"/>
            <a:t>Validate identified metrics</a:t>
          </a:r>
        </a:p>
      </dgm:t>
    </dgm:pt>
    <dgm:pt modelId="{8F1C3138-F1D1-3248-81DE-92129BD215E8}" type="parTrans" cxnId="{13F05E2C-406D-EC4F-AED2-015A9680DD1B}">
      <dgm:prSet/>
      <dgm:spPr/>
      <dgm:t>
        <a:bodyPr/>
        <a:lstStyle/>
        <a:p>
          <a:endParaRPr lang="en-US"/>
        </a:p>
      </dgm:t>
    </dgm:pt>
    <dgm:pt modelId="{4870AFB4-CA2D-FC42-A681-C78EC3277088}" type="sibTrans" cxnId="{13F05E2C-406D-EC4F-AED2-015A9680DD1B}">
      <dgm:prSet/>
      <dgm:spPr/>
      <dgm:t>
        <a:bodyPr/>
        <a:lstStyle/>
        <a:p>
          <a:endParaRPr lang="en-US"/>
        </a:p>
      </dgm:t>
    </dgm:pt>
    <dgm:pt modelId="{9985C233-D870-41A3-A80C-ED791397DEBF}">
      <dgm:prSet phldrT="[Text]"/>
      <dgm:spPr/>
      <dgm:t>
        <a:bodyPr/>
        <a:lstStyle/>
        <a:p>
          <a:r>
            <a:rPr lang="en-US" b="1" dirty="0"/>
            <a:t>Add Digital adoption</a:t>
          </a:r>
        </a:p>
      </dgm:t>
    </dgm:pt>
    <dgm:pt modelId="{8A5D4DC6-D45A-48FF-8A21-1C6C1442A3E6}" type="parTrans" cxnId="{478C0A66-EF6E-4BB6-BAD0-78B87520FE55}">
      <dgm:prSet/>
      <dgm:spPr/>
      <dgm:t>
        <a:bodyPr/>
        <a:lstStyle/>
        <a:p>
          <a:endParaRPr lang="en-US"/>
        </a:p>
      </dgm:t>
    </dgm:pt>
    <dgm:pt modelId="{DC6C5434-9FE5-4EA2-AB12-DAA87EBAAC2A}" type="sibTrans" cxnId="{478C0A66-EF6E-4BB6-BAD0-78B87520FE55}">
      <dgm:prSet/>
      <dgm:spPr/>
      <dgm:t>
        <a:bodyPr/>
        <a:lstStyle/>
        <a:p>
          <a:endParaRPr lang="en-US"/>
        </a:p>
      </dgm:t>
    </dgm:pt>
    <dgm:pt modelId="{F433A5DE-69D3-4DEE-A3F2-30C6B26915C6}">
      <dgm:prSet phldrT="[Text]"/>
      <dgm:spPr/>
      <dgm:t>
        <a:bodyPr/>
        <a:lstStyle/>
        <a:p>
          <a:r>
            <a:rPr lang="en-US" b="1" dirty="0"/>
            <a:t>Add Email/SMS Bounce</a:t>
          </a:r>
        </a:p>
      </dgm:t>
    </dgm:pt>
    <dgm:pt modelId="{CA37D57F-9BE8-485D-A91F-7B9AC4BB2D0A}" type="parTrans" cxnId="{AEA6686F-75C1-41A9-A29B-6F667D76D65D}">
      <dgm:prSet/>
      <dgm:spPr/>
      <dgm:t>
        <a:bodyPr/>
        <a:lstStyle/>
        <a:p>
          <a:endParaRPr lang="en-US"/>
        </a:p>
      </dgm:t>
    </dgm:pt>
    <dgm:pt modelId="{BDB38D69-86F5-4D06-A1C7-8BE25E7F65C9}" type="sibTrans" cxnId="{AEA6686F-75C1-41A9-A29B-6F667D76D65D}">
      <dgm:prSet/>
      <dgm:spPr/>
      <dgm:t>
        <a:bodyPr/>
        <a:lstStyle/>
        <a:p>
          <a:endParaRPr lang="en-US"/>
        </a:p>
      </dgm:t>
    </dgm:pt>
    <dgm:pt modelId="{1E2A0B0B-286B-488C-B67C-A2B0CAF1F787}">
      <dgm:prSet phldrT="[Text]"/>
      <dgm:spPr/>
      <dgm:t>
        <a:bodyPr/>
        <a:lstStyle/>
        <a:p>
          <a:pPr algn="l"/>
          <a:r>
            <a:rPr lang="en-US" dirty="0"/>
            <a:t>ETL Automation &amp; Dashboard Optimization</a:t>
          </a:r>
        </a:p>
        <a:p>
          <a:pPr algn="l"/>
          <a:r>
            <a:rPr lang="en-US" b="1" dirty="0"/>
            <a:t>Dec 26</a:t>
          </a:r>
        </a:p>
      </dgm:t>
    </dgm:pt>
    <dgm:pt modelId="{E6FC4307-82D3-48F1-84A6-7BBFCC435ED2}" type="parTrans" cxnId="{1A670E8B-7D30-4F7B-8B72-9783CA82E086}">
      <dgm:prSet/>
      <dgm:spPr/>
      <dgm:t>
        <a:bodyPr/>
        <a:lstStyle/>
        <a:p>
          <a:endParaRPr lang="en-US"/>
        </a:p>
      </dgm:t>
    </dgm:pt>
    <dgm:pt modelId="{916AA94A-E6ED-4799-9AAA-F467A8D7185F}" type="sibTrans" cxnId="{1A670E8B-7D30-4F7B-8B72-9783CA82E086}">
      <dgm:prSet/>
      <dgm:spPr/>
      <dgm:t>
        <a:bodyPr/>
        <a:lstStyle/>
        <a:p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3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3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01499-31EB-4EC0-A23B-5A9C6306C414}" type="pres">
      <dgm:prSet presAssocID="{1ABE6D41-26CF-0C4F-AA00-33DEB4472C50}" presName="sibTrans" presStyleLbl="sibTrans2D1" presStyleIdx="2" presStyleCnt="3"/>
      <dgm:spPr/>
      <dgm:t>
        <a:bodyPr/>
        <a:lstStyle/>
        <a:p>
          <a:endParaRPr lang="en-US"/>
        </a:p>
      </dgm:t>
    </dgm:pt>
    <dgm:pt modelId="{7D8C52BA-C472-4916-A6C3-1ADCB856A44D}" type="pres">
      <dgm:prSet presAssocID="{1ABE6D41-26CF-0C4F-AA00-33DEB4472C50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A27F777A-9153-447D-B584-E72B7FEF625E}" type="pres">
      <dgm:prSet presAssocID="{1E2A0B0B-286B-488C-B67C-A2B0CAF1F787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1A670E8B-7D30-4F7B-8B72-9783CA82E086}" srcId="{F50EDBE2-88EE-224F-A42F-51EBA0C80428}" destId="{1E2A0B0B-286B-488C-B67C-A2B0CAF1F787}" srcOrd="3" destOrd="0" parTransId="{E6FC4307-82D3-48F1-84A6-7BBFCC435ED2}" sibTransId="{916AA94A-E6ED-4799-9AAA-F467A8D7185F}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BD204166-5452-6D4E-8BAD-997010636E28}" type="presOf" srcId="{C0A2CD1C-249E-204D-883E-1219B13ECE84}" destId="{1E400FA3-1810-5E42-96E5-819024EA6118}" srcOrd="0" destOrd="2" presId="urn:microsoft.com/office/officeart/2005/8/layout/process1"/>
    <dgm:cxn modelId="{CC220148-DB4C-4E32-820B-6680A092364B}" type="presOf" srcId="{9985C233-D870-41A3-A80C-ED791397DEBF}" destId="{BE74BAD7-3CA5-C44E-A10E-4E84FF3C7715}" srcOrd="0" destOrd="1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2CD248FC-67BC-4F4B-92BF-0DF0EB36A571}" type="presOf" srcId="{1ABE6D41-26CF-0C4F-AA00-33DEB4472C50}" destId="{7D8C52BA-C472-4916-A6C3-1ADCB856A44D}" srcOrd="1" destOrd="0" presId="urn:microsoft.com/office/officeart/2005/8/layout/process1"/>
    <dgm:cxn modelId="{3F2C7623-19A4-4128-8C99-CD3495D27823}" type="presOf" srcId="{1E2A0B0B-286B-488C-B67C-A2B0CAF1F787}" destId="{A27F777A-9153-447D-B584-E72B7FEF625E}" srcOrd="0" destOrd="0" presId="urn:microsoft.com/office/officeart/2005/8/layout/process1"/>
    <dgm:cxn modelId="{13F05E2C-406D-EC4F-AED2-015A9680DD1B}" srcId="{8674325C-CC63-CA4C-89BD-AF6128AF6D8E}" destId="{C0A2CD1C-249E-204D-883E-1219B13ECE84}" srcOrd="1" destOrd="0" parTransId="{8F1C3138-F1D1-3248-81DE-92129BD215E8}" sibTransId="{4870AFB4-CA2D-FC42-A681-C78EC3277088}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5E7EF86B-C41A-334D-8E5D-36D3340FAB08}" type="presOf" srcId="{3F729957-727A-764C-B27D-9D4AE217C4B6}" destId="{1E400FA3-1810-5E42-96E5-819024EA6118}" srcOrd="0" destOrd="1" presId="urn:microsoft.com/office/officeart/2005/8/layout/process1"/>
    <dgm:cxn modelId="{BF975685-D1F5-4B95-AC84-3965DAA84996}" type="presOf" srcId="{1ABE6D41-26CF-0C4F-AA00-33DEB4472C50}" destId="{AE201499-31EB-4EC0-A23B-5A9C6306C414}" srcOrd="0" destOrd="0" presId="urn:microsoft.com/office/officeart/2005/8/layout/process1"/>
    <dgm:cxn modelId="{478C0A66-EF6E-4BB6-BAD0-78B87520FE55}" srcId="{3B3DDA34-D2BB-644F-8D2B-1A6A0FCFEA0D}" destId="{9985C233-D870-41A3-A80C-ED791397DEBF}" srcOrd="0" destOrd="0" parTransId="{8A5D4DC6-D45A-48FF-8A21-1C6C1442A3E6}" sibTransId="{DC6C5434-9FE5-4EA2-AB12-DAA87EBAAC2A}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8FC704E0-A2F7-474E-804D-CDB4A64B5731}" type="presOf" srcId="{F433A5DE-69D3-4DEE-A3F2-30C6B26915C6}" destId="{BE74BAD7-3CA5-C44E-A10E-4E84FF3C7715}" srcOrd="0" destOrd="2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AEA6686F-75C1-41A9-A29B-6F667D76D65D}" srcId="{3B3DDA34-D2BB-644F-8D2B-1A6A0FCFEA0D}" destId="{F433A5DE-69D3-4DEE-A3F2-30C6B26915C6}" srcOrd="1" destOrd="0" parTransId="{CA37D57F-9BE8-485D-A91F-7B9AC4BB2D0A}" sibTransId="{BDB38D69-86F5-4D06-A1C7-8BE25E7F65C9}"/>
    <dgm:cxn modelId="{1DEA568E-544E-814F-A196-81FE9F0D5419}" srcId="{8674325C-CC63-CA4C-89BD-AF6128AF6D8E}" destId="{3F729957-727A-764C-B27D-9D4AE217C4B6}" srcOrd="0" destOrd="0" parTransId="{8915A0D1-652E-B844-8383-FD5DB617B2FB}" sibTransId="{AF3D86D8-378B-974B-A5CF-B8EE86592238}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61AE0B0C-EB4B-47B8-9634-E2BCB95479FC}" type="presParOf" srcId="{A722D2B6-72A0-544B-8878-A25245C1B7DC}" destId="{AE201499-31EB-4EC0-A23B-5A9C6306C414}" srcOrd="5" destOrd="0" presId="urn:microsoft.com/office/officeart/2005/8/layout/process1"/>
    <dgm:cxn modelId="{6DE1B2F7-0864-4E38-BF7D-29A616653B2C}" type="presParOf" srcId="{AE201499-31EB-4EC0-A23B-5A9C6306C414}" destId="{7D8C52BA-C472-4916-A6C3-1ADCB856A44D}" srcOrd="0" destOrd="0" presId="urn:microsoft.com/office/officeart/2005/8/layout/process1"/>
    <dgm:cxn modelId="{01D54A65-9067-4268-AB5E-4640F9C0A49A}" type="presParOf" srcId="{A722D2B6-72A0-544B-8878-A25245C1B7DC}" destId="{A27F777A-9153-447D-B584-E72B7FEF625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/>
      <dgm:spPr/>
      <dgm:t>
        <a:bodyPr/>
        <a:lstStyle/>
        <a:p>
          <a:pPr algn="l"/>
          <a:r>
            <a:rPr lang="en-US" dirty="0" smtClean="0"/>
            <a:t>Designing a Dynamic Data Model </a:t>
          </a:r>
          <a:endParaRPr lang="en-US" dirty="0"/>
        </a:p>
        <a:p>
          <a:pPr algn="l"/>
          <a:r>
            <a:rPr lang="en-US" b="1" dirty="0" smtClean="0"/>
            <a:t>20</a:t>
          </a:r>
          <a:r>
            <a:rPr lang="en-US" b="1" baseline="30000" dirty="0" smtClean="0"/>
            <a:t>th</a:t>
          </a:r>
          <a:r>
            <a:rPr lang="en-US" b="1" dirty="0" smtClean="0"/>
            <a:t> Dec</a:t>
          </a:r>
        </a:p>
        <a:p>
          <a:pPr algn="l"/>
          <a:r>
            <a:rPr lang="en-US" b="1" dirty="0" smtClean="0"/>
            <a:t>-</a:t>
          </a:r>
          <a:r>
            <a:rPr lang="en-US" dirty="0" smtClean="0"/>
            <a:t>Ingest all the markets data</a:t>
          </a:r>
        </a:p>
        <a:p>
          <a:pPr algn="l"/>
          <a:r>
            <a:rPr lang="en-US" dirty="0" smtClean="0"/>
            <a:t>-Validate identified metrics</a:t>
          </a:r>
          <a:endParaRPr lang="en-US" b="1" dirty="0"/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endParaRPr lang="en-US"/>
        </a:p>
      </dgm:t>
    </dgm:pt>
    <dgm:pt modelId="{E8A96DFF-C1EF-FD43-9B72-17230B5CAE92}" type="sibTrans" cxnId="{47FF049F-AEDA-BA4A-8ECE-971324E50992}">
      <dgm:prSet/>
      <dgm:spPr/>
      <dgm:t>
        <a:bodyPr/>
        <a:lstStyle/>
        <a:p>
          <a:endParaRPr lang="en-US" dirty="0"/>
        </a:p>
      </dgm:t>
    </dgm:pt>
    <dgm:pt modelId="{6C8C6840-F200-7E45-B7D6-73ED3967F136}">
      <dgm:prSet phldrT="[Text]" custT="1"/>
      <dgm:spPr/>
      <dgm:t>
        <a:bodyPr anchor="t"/>
        <a:lstStyle/>
        <a:p>
          <a:pPr algn="l"/>
          <a:r>
            <a:rPr lang="en-US" sz="900" dirty="0"/>
            <a:t>Production Go Live ( Soft Launch)</a:t>
          </a:r>
        </a:p>
        <a:p>
          <a:pPr algn="l"/>
          <a:r>
            <a:rPr lang="en-US" sz="900" b="1" dirty="0"/>
            <a:t>Dec </a:t>
          </a:r>
          <a:r>
            <a:rPr lang="en-US" sz="900" b="1" dirty="0" smtClean="0"/>
            <a:t>27</a:t>
          </a:r>
          <a:r>
            <a:rPr lang="en-US" sz="900" b="1" baseline="30000" dirty="0" smtClean="0"/>
            <a:t>th</a:t>
          </a:r>
          <a:r>
            <a:rPr lang="en-US" sz="900" b="1" dirty="0" smtClean="0"/>
            <a:t> </a:t>
          </a:r>
          <a:endParaRPr lang="en-US" sz="900" b="1" dirty="0"/>
        </a:p>
        <a:p>
          <a:pPr algn="l"/>
          <a:r>
            <a:rPr lang="en-US" sz="1000" dirty="0" smtClean="0"/>
            <a:t>-</a:t>
          </a:r>
          <a:r>
            <a:rPr lang="en-US" sz="900" dirty="0" smtClean="0"/>
            <a:t>Create Data Ingestion Pipeline</a:t>
          </a:r>
        </a:p>
        <a:p>
          <a:pPr algn="l"/>
          <a:r>
            <a:rPr lang="en-US" sz="900" dirty="0" smtClean="0"/>
            <a:t>- Test the data ingestion from source</a:t>
          </a:r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endParaRPr lang="en-US"/>
        </a:p>
      </dgm:t>
    </dgm:pt>
    <dgm:pt modelId="{18C336B2-6B09-9943-A629-94D26EAB4E64}" type="sibTrans" cxnId="{C6686EF8-E73B-7240-9725-63E30A0685D2}">
      <dgm:prSet/>
      <dgm:spPr/>
      <dgm:t>
        <a:bodyPr/>
        <a:lstStyle/>
        <a:p>
          <a:endParaRPr lang="en-US" dirty="0"/>
        </a:p>
      </dgm:t>
    </dgm:pt>
    <dgm:pt modelId="{3B3DDA34-D2BB-644F-8D2B-1A6A0FCFEA0D}">
      <dgm:prSet phldrT="[Text]"/>
      <dgm:spPr/>
      <dgm:t>
        <a:bodyPr/>
        <a:lstStyle/>
        <a:p>
          <a:r>
            <a:rPr lang="en-US" dirty="0" smtClean="0"/>
            <a:t>Queries and Aggregate Optimization</a:t>
          </a:r>
          <a:endParaRPr lang="en-US" dirty="0"/>
        </a:p>
        <a:p>
          <a:r>
            <a:rPr lang="en-US" b="1" dirty="0" smtClean="0"/>
            <a:t>Jan 03</a:t>
          </a:r>
          <a:r>
            <a:rPr lang="en-US" b="1" baseline="30000" dirty="0" smtClean="0"/>
            <a:t>rd</a:t>
          </a:r>
          <a:r>
            <a:rPr lang="en-US" b="1" dirty="0" smtClean="0"/>
            <a:t> </a:t>
          </a:r>
          <a:endParaRPr lang="en-US" b="1" dirty="0"/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endParaRPr lang="en-US"/>
        </a:p>
      </dgm:t>
    </dgm:pt>
    <dgm:pt modelId="{1ABE6D41-26CF-0C4F-AA00-33DEB4472C50}" type="sibTrans" cxnId="{77491BF2-C7BD-6C49-8FBD-C9FD2C19E6E8}">
      <dgm:prSet/>
      <dgm:spPr/>
      <dgm:t>
        <a:bodyPr/>
        <a:lstStyle/>
        <a:p>
          <a:endParaRPr lang="en-US" dirty="0"/>
        </a:p>
      </dgm:t>
    </dgm:pt>
    <dgm:pt modelId="{9985C233-D870-41A3-A80C-ED791397DEBF}">
      <dgm:prSet phldrT="[Text]"/>
      <dgm:spPr/>
      <dgm:t>
        <a:bodyPr/>
        <a:lstStyle/>
        <a:p>
          <a:r>
            <a:rPr lang="en-US" b="1" dirty="0"/>
            <a:t>Add Digital adoption</a:t>
          </a:r>
        </a:p>
      </dgm:t>
    </dgm:pt>
    <dgm:pt modelId="{8A5D4DC6-D45A-48FF-8A21-1C6C1442A3E6}" type="parTrans" cxnId="{478C0A66-EF6E-4BB6-BAD0-78B87520FE55}">
      <dgm:prSet/>
      <dgm:spPr/>
      <dgm:t>
        <a:bodyPr/>
        <a:lstStyle/>
        <a:p>
          <a:endParaRPr lang="en-US"/>
        </a:p>
      </dgm:t>
    </dgm:pt>
    <dgm:pt modelId="{DC6C5434-9FE5-4EA2-AB12-DAA87EBAAC2A}" type="sibTrans" cxnId="{478C0A66-EF6E-4BB6-BAD0-78B87520FE55}">
      <dgm:prSet/>
      <dgm:spPr/>
      <dgm:t>
        <a:bodyPr/>
        <a:lstStyle/>
        <a:p>
          <a:endParaRPr lang="en-US"/>
        </a:p>
      </dgm:t>
    </dgm:pt>
    <dgm:pt modelId="{F433A5DE-69D3-4DEE-A3F2-30C6B26915C6}">
      <dgm:prSet phldrT="[Text]"/>
      <dgm:spPr/>
      <dgm:t>
        <a:bodyPr/>
        <a:lstStyle/>
        <a:p>
          <a:r>
            <a:rPr lang="en-US" b="1" dirty="0"/>
            <a:t>Add Email/SMS Bounce</a:t>
          </a:r>
        </a:p>
      </dgm:t>
    </dgm:pt>
    <dgm:pt modelId="{CA37D57F-9BE8-485D-A91F-7B9AC4BB2D0A}" type="parTrans" cxnId="{AEA6686F-75C1-41A9-A29B-6F667D76D65D}">
      <dgm:prSet/>
      <dgm:spPr/>
      <dgm:t>
        <a:bodyPr/>
        <a:lstStyle/>
        <a:p>
          <a:endParaRPr lang="en-US"/>
        </a:p>
      </dgm:t>
    </dgm:pt>
    <dgm:pt modelId="{BDB38D69-86F5-4D06-A1C7-8BE25E7F65C9}" type="sibTrans" cxnId="{AEA6686F-75C1-41A9-A29B-6F667D76D65D}">
      <dgm:prSet/>
      <dgm:spPr/>
      <dgm:t>
        <a:bodyPr/>
        <a:lstStyle/>
        <a:p>
          <a:endParaRPr lang="en-US"/>
        </a:p>
      </dgm:t>
    </dgm:pt>
    <dgm:pt modelId="{1E2A0B0B-286B-488C-B67C-A2B0CAF1F787}">
      <dgm:prSet phldrT="[Text]"/>
      <dgm:spPr/>
      <dgm:t>
        <a:bodyPr/>
        <a:lstStyle/>
        <a:p>
          <a:pPr algn="l"/>
          <a:r>
            <a:rPr lang="en-US" dirty="0" smtClean="0"/>
            <a:t>Stakeholder Review and Deployment</a:t>
          </a:r>
          <a:endParaRPr lang="en-US" dirty="0"/>
        </a:p>
        <a:p>
          <a:pPr algn="l"/>
          <a:r>
            <a:rPr lang="en-US" b="1" dirty="0" smtClean="0"/>
            <a:t>TBD</a:t>
          </a:r>
          <a:endParaRPr lang="en-US" b="1" dirty="0"/>
        </a:p>
      </dgm:t>
    </dgm:pt>
    <dgm:pt modelId="{E6FC4307-82D3-48F1-84A6-7BBFCC435ED2}" type="parTrans" cxnId="{1A670E8B-7D30-4F7B-8B72-9783CA82E086}">
      <dgm:prSet/>
      <dgm:spPr/>
      <dgm:t>
        <a:bodyPr/>
        <a:lstStyle/>
        <a:p>
          <a:endParaRPr lang="en-US"/>
        </a:p>
      </dgm:t>
    </dgm:pt>
    <dgm:pt modelId="{916AA94A-E6ED-4799-9AAA-F467A8D7185F}" type="sibTrans" cxnId="{1A670E8B-7D30-4F7B-8B72-9783CA82E086}">
      <dgm:prSet/>
      <dgm:spPr/>
      <dgm:t>
        <a:bodyPr/>
        <a:lstStyle/>
        <a:p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3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3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01499-31EB-4EC0-A23B-5A9C6306C414}" type="pres">
      <dgm:prSet presAssocID="{1ABE6D41-26CF-0C4F-AA00-33DEB4472C50}" presName="sibTrans" presStyleLbl="sibTrans2D1" presStyleIdx="2" presStyleCnt="3"/>
      <dgm:spPr/>
      <dgm:t>
        <a:bodyPr/>
        <a:lstStyle/>
        <a:p>
          <a:endParaRPr lang="en-US"/>
        </a:p>
      </dgm:t>
    </dgm:pt>
    <dgm:pt modelId="{7D8C52BA-C472-4916-A6C3-1ADCB856A44D}" type="pres">
      <dgm:prSet presAssocID="{1ABE6D41-26CF-0C4F-AA00-33DEB4472C50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A27F777A-9153-447D-B584-E72B7FEF625E}" type="pres">
      <dgm:prSet presAssocID="{1E2A0B0B-286B-488C-B67C-A2B0CAF1F787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1A670E8B-7D30-4F7B-8B72-9783CA82E086}" srcId="{F50EDBE2-88EE-224F-A42F-51EBA0C80428}" destId="{1E2A0B0B-286B-488C-B67C-A2B0CAF1F787}" srcOrd="3" destOrd="0" parTransId="{E6FC4307-82D3-48F1-84A6-7BBFCC435ED2}" sibTransId="{916AA94A-E6ED-4799-9AAA-F467A8D7185F}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BF975685-D1F5-4B95-AC84-3965DAA84996}" type="presOf" srcId="{1ABE6D41-26CF-0C4F-AA00-33DEB4472C50}" destId="{AE201499-31EB-4EC0-A23B-5A9C6306C414}" srcOrd="0" destOrd="0" presId="urn:microsoft.com/office/officeart/2005/8/layout/process1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3F2C7623-19A4-4128-8C99-CD3495D27823}" type="presOf" srcId="{1E2A0B0B-286B-488C-B67C-A2B0CAF1F787}" destId="{A27F777A-9153-447D-B584-E72B7FEF625E}" srcOrd="0" destOrd="0" presId="urn:microsoft.com/office/officeart/2005/8/layout/process1"/>
    <dgm:cxn modelId="{478C0A66-EF6E-4BB6-BAD0-78B87520FE55}" srcId="{3B3DDA34-D2BB-644F-8D2B-1A6A0FCFEA0D}" destId="{9985C233-D870-41A3-A80C-ED791397DEBF}" srcOrd="0" destOrd="0" parTransId="{8A5D4DC6-D45A-48FF-8A21-1C6C1442A3E6}" sibTransId="{DC6C5434-9FE5-4EA2-AB12-DAA87EBAAC2A}"/>
    <dgm:cxn modelId="{AEA6686F-75C1-41A9-A29B-6F667D76D65D}" srcId="{3B3DDA34-D2BB-644F-8D2B-1A6A0FCFEA0D}" destId="{F433A5DE-69D3-4DEE-A3F2-30C6B26915C6}" srcOrd="1" destOrd="0" parTransId="{CA37D57F-9BE8-485D-A91F-7B9AC4BB2D0A}" sibTransId="{BDB38D69-86F5-4D06-A1C7-8BE25E7F65C9}"/>
    <dgm:cxn modelId="{CC220148-DB4C-4E32-820B-6680A092364B}" type="presOf" srcId="{9985C233-D870-41A3-A80C-ED791397DEBF}" destId="{BE74BAD7-3CA5-C44E-A10E-4E84FF3C7715}" srcOrd="0" destOrd="1" presId="urn:microsoft.com/office/officeart/2005/8/layout/process1"/>
    <dgm:cxn modelId="{2CD248FC-67BC-4F4B-92BF-0DF0EB36A571}" type="presOf" srcId="{1ABE6D41-26CF-0C4F-AA00-33DEB4472C50}" destId="{7D8C52BA-C472-4916-A6C3-1ADCB856A44D}" srcOrd="1" destOrd="0" presId="urn:microsoft.com/office/officeart/2005/8/layout/process1"/>
    <dgm:cxn modelId="{8FC704E0-A2F7-474E-804D-CDB4A64B5731}" type="presOf" srcId="{F433A5DE-69D3-4DEE-A3F2-30C6B26915C6}" destId="{BE74BAD7-3CA5-C44E-A10E-4E84FF3C7715}" srcOrd="0" destOrd="2" presId="urn:microsoft.com/office/officeart/2005/8/layout/process1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61AE0B0C-EB4B-47B8-9634-E2BCB95479FC}" type="presParOf" srcId="{A722D2B6-72A0-544B-8878-A25245C1B7DC}" destId="{AE201499-31EB-4EC0-A23B-5A9C6306C414}" srcOrd="5" destOrd="0" presId="urn:microsoft.com/office/officeart/2005/8/layout/process1"/>
    <dgm:cxn modelId="{6DE1B2F7-0864-4E38-BF7D-29A616653B2C}" type="presParOf" srcId="{AE201499-31EB-4EC0-A23B-5A9C6306C414}" destId="{7D8C52BA-C472-4916-A6C3-1ADCB856A44D}" srcOrd="0" destOrd="0" presId="urn:microsoft.com/office/officeart/2005/8/layout/process1"/>
    <dgm:cxn modelId="{01D54A65-9067-4268-AB5E-4640F9C0A49A}" type="presParOf" srcId="{A722D2B6-72A0-544B-8878-A25245C1B7DC}" destId="{A27F777A-9153-447D-B584-E72B7FEF625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 custT="1"/>
      <dgm:spPr/>
      <dgm:t>
        <a:bodyPr/>
        <a:lstStyle/>
        <a:p>
          <a:pPr algn="l"/>
          <a:r>
            <a:rPr lang="en-US" sz="800" dirty="0" smtClean="0"/>
            <a:t>Validate all 11 Dashboards for data validations till  September</a:t>
          </a:r>
          <a:endParaRPr lang="en-US" sz="800" dirty="0"/>
        </a:p>
        <a:p>
          <a:pPr algn="l"/>
          <a:r>
            <a:rPr lang="en-US" sz="800" b="1" dirty="0" smtClean="0"/>
            <a:t>Nov 13</a:t>
          </a:r>
          <a:r>
            <a:rPr lang="en-US" sz="800" b="1" baseline="30000" dirty="0" smtClean="0"/>
            <a:t>th</a:t>
          </a:r>
          <a:r>
            <a:rPr lang="en-US" sz="800" b="1" dirty="0" smtClean="0"/>
            <a:t> 2024</a:t>
          </a:r>
        </a:p>
        <a:p>
          <a:pPr algn="l"/>
          <a:r>
            <a:rPr lang="en-US" sz="800" b="1" dirty="0" smtClean="0"/>
            <a:t>-</a:t>
          </a:r>
          <a:r>
            <a:rPr lang="en-US" sz="800" dirty="0" smtClean="0"/>
            <a:t>Identify the data gaps with dashboards</a:t>
          </a:r>
        </a:p>
        <a:p>
          <a:pPr algn="l"/>
          <a:r>
            <a:rPr lang="en-US" sz="800" dirty="0" smtClean="0"/>
            <a:t>-Validate the working of the visuals</a:t>
          </a:r>
          <a:endParaRPr lang="en-US" sz="800" b="1" dirty="0"/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endParaRPr lang="en-US"/>
        </a:p>
      </dgm:t>
    </dgm:pt>
    <dgm:pt modelId="{E8A96DFF-C1EF-FD43-9B72-17230B5CAE92}" type="sibTrans" cxnId="{47FF049F-AEDA-BA4A-8ECE-971324E50992}">
      <dgm:prSet/>
      <dgm:spPr/>
      <dgm:t>
        <a:bodyPr/>
        <a:lstStyle/>
        <a:p>
          <a:endParaRPr lang="en-US" dirty="0"/>
        </a:p>
      </dgm:t>
    </dgm:pt>
    <dgm:pt modelId="{6C8C6840-F200-7E45-B7D6-73ED3967F136}">
      <dgm:prSet phldrT="[Text]" custT="1"/>
      <dgm:spPr/>
      <dgm:t>
        <a:bodyPr anchor="t"/>
        <a:lstStyle/>
        <a:p>
          <a:pPr algn="l"/>
          <a:r>
            <a:rPr lang="en-US" sz="800" dirty="0" smtClean="0"/>
            <a:t>Work with the data teams for open data issues and refreshing the data </a:t>
          </a:r>
        </a:p>
        <a:p>
          <a:pPr algn="l"/>
          <a:r>
            <a:rPr lang="en-US" sz="800" b="1" dirty="0" smtClean="0"/>
            <a:t>Nov 27</a:t>
          </a:r>
          <a:r>
            <a:rPr lang="en-US" sz="800" b="1" baseline="30000" dirty="0" smtClean="0"/>
            <a:t>th</a:t>
          </a:r>
          <a:r>
            <a:rPr lang="en-US" sz="800" b="1" dirty="0" smtClean="0"/>
            <a:t> 2024</a:t>
          </a:r>
        </a:p>
        <a:p>
          <a:pPr algn="l"/>
          <a:r>
            <a:rPr lang="en-US" sz="800" dirty="0" smtClean="0"/>
            <a:t>-Raise the data issues with the data team </a:t>
          </a:r>
        </a:p>
        <a:p>
          <a:pPr algn="l"/>
          <a:r>
            <a:rPr lang="en-US" sz="800" dirty="0" smtClean="0"/>
            <a:t>-Validate the dashboards post the data updates</a:t>
          </a:r>
          <a:endParaRPr lang="en-US" sz="800" dirty="0"/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endParaRPr lang="en-US"/>
        </a:p>
      </dgm:t>
    </dgm:pt>
    <dgm:pt modelId="{18C336B2-6B09-9943-A629-94D26EAB4E64}" type="sibTrans" cxnId="{C6686EF8-E73B-7240-9725-63E30A0685D2}">
      <dgm:prSet/>
      <dgm:spPr/>
      <dgm:t>
        <a:bodyPr/>
        <a:lstStyle/>
        <a:p>
          <a:endParaRPr lang="en-US" dirty="0"/>
        </a:p>
      </dgm:t>
    </dgm:pt>
    <dgm:pt modelId="{3B3DDA34-D2BB-644F-8D2B-1A6A0FCFEA0D}">
      <dgm:prSet phldrT="[Text]"/>
      <dgm:spPr/>
      <dgm:t>
        <a:bodyPr/>
        <a:lstStyle/>
        <a:p>
          <a:pPr algn="l"/>
          <a:r>
            <a:rPr lang="en-US" dirty="0" smtClean="0"/>
            <a:t>Work with the data teams for open data issues and refreshing the data </a:t>
          </a:r>
        </a:p>
        <a:p>
          <a:pPr algn="l"/>
          <a:r>
            <a:rPr lang="en-US" b="1" dirty="0" smtClean="0"/>
            <a:t>Dec 15</a:t>
          </a:r>
          <a:r>
            <a:rPr lang="en-US" b="1" baseline="30000" dirty="0" smtClean="0"/>
            <a:t>th</a:t>
          </a:r>
          <a:r>
            <a:rPr lang="en-US" b="1" dirty="0" smtClean="0"/>
            <a:t> 2024</a:t>
          </a:r>
        </a:p>
        <a:p>
          <a:pPr algn="l"/>
          <a:r>
            <a:rPr lang="en-US" dirty="0" smtClean="0"/>
            <a:t>-Validated all dashboards with updated data</a:t>
          </a:r>
        </a:p>
        <a:p>
          <a:pPr algn="l"/>
          <a:r>
            <a:rPr lang="en-US" dirty="0" smtClean="0"/>
            <a:t>-Continuously refresh  all 22 data sources  </a:t>
          </a:r>
          <a:endParaRPr lang="en-US" b="1" dirty="0"/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endParaRPr lang="en-US"/>
        </a:p>
      </dgm:t>
    </dgm:pt>
    <dgm:pt modelId="{1ABE6D41-26CF-0C4F-AA00-33DEB4472C50}" type="sibTrans" cxnId="{77491BF2-C7BD-6C49-8FBD-C9FD2C19E6E8}">
      <dgm:prSet/>
      <dgm:spPr/>
      <dgm:t>
        <a:bodyPr/>
        <a:lstStyle/>
        <a:p>
          <a:endParaRPr lang="en-US" dirty="0"/>
        </a:p>
      </dgm:t>
    </dgm:pt>
    <dgm:pt modelId="{1E2A0B0B-286B-488C-B67C-A2B0CAF1F787}">
      <dgm:prSet phldrT="[Text]"/>
      <dgm:spPr/>
      <dgm:t>
        <a:bodyPr/>
        <a:lstStyle/>
        <a:p>
          <a:pPr algn="l"/>
          <a:r>
            <a:rPr lang="en-US" dirty="0" smtClean="0"/>
            <a:t>Post Migration Support</a:t>
          </a:r>
          <a:endParaRPr lang="en-US" dirty="0"/>
        </a:p>
        <a:p>
          <a:pPr algn="l"/>
          <a:r>
            <a:rPr lang="en-US" b="1" dirty="0" smtClean="0"/>
            <a:t>TBD</a:t>
          </a:r>
        </a:p>
        <a:p>
          <a:pPr algn="l"/>
          <a:endParaRPr lang="en-US" b="1" dirty="0"/>
        </a:p>
      </dgm:t>
    </dgm:pt>
    <dgm:pt modelId="{E6FC4307-82D3-48F1-84A6-7BBFCC435ED2}" type="parTrans" cxnId="{1A670E8B-7D30-4F7B-8B72-9783CA82E086}">
      <dgm:prSet/>
      <dgm:spPr/>
      <dgm:t>
        <a:bodyPr/>
        <a:lstStyle/>
        <a:p>
          <a:endParaRPr lang="en-US"/>
        </a:p>
      </dgm:t>
    </dgm:pt>
    <dgm:pt modelId="{916AA94A-E6ED-4799-9AAA-F467A8D7185F}" type="sibTrans" cxnId="{1A670E8B-7D30-4F7B-8B72-9783CA82E086}">
      <dgm:prSet/>
      <dgm:spPr/>
      <dgm:t>
        <a:bodyPr/>
        <a:lstStyle/>
        <a:p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3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3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201499-31EB-4EC0-A23B-5A9C6306C414}" type="pres">
      <dgm:prSet presAssocID="{1ABE6D41-26CF-0C4F-AA00-33DEB4472C50}" presName="sibTrans" presStyleLbl="sibTrans2D1" presStyleIdx="2" presStyleCnt="3"/>
      <dgm:spPr/>
      <dgm:t>
        <a:bodyPr/>
        <a:lstStyle/>
        <a:p>
          <a:endParaRPr lang="en-US"/>
        </a:p>
      </dgm:t>
    </dgm:pt>
    <dgm:pt modelId="{7D8C52BA-C472-4916-A6C3-1ADCB856A44D}" type="pres">
      <dgm:prSet presAssocID="{1ABE6D41-26CF-0C4F-AA00-33DEB4472C50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A27F777A-9153-447D-B584-E72B7FEF625E}" type="pres">
      <dgm:prSet presAssocID="{1E2A0B0B-286B-488C-B67C-A2B0CAF1F787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1A670E8B-7D30-4F7B-8B72-9783CA82E086}" srcId="{F50EDBE2-88EE-224F-A42F-51EBA0C80428}" destId="{1E2A0B0B-286B-488C-B67C-A2B0CAF1F787}" srcOrd="3" destOrd="0" parTransId="{E6FC4307-82D3-48F1-84A6-7BBFCC435ED2}" sibTransId="{916AA94A-E6ED-4799-9AAA-F467A8D7185F}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BF975685-D1F5-4B95-AC84-3965DAA84996}" type="presOf" srcId="{1ABE6D41-26CF-0C4F-AA00-33DEB4472C50}" destId="{AE201499-31EB-4EC0-A23B-5A9C6306C414}" srcOrd="0" destOrd="0" presId="urn:microsoft.com/office/officeart/2005/8/layout/process1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3F2C7623-19A4-4128-8C99-CD3495D27823}" type="presOf" srcId="{1E2A0B0B-286B-488C-B67C-A2B0CAF1F787}" destId="{A27F777A-9153-447D-B584-E72B7FEF625E}" srcOrd="0" destOrd="0" presId="urn:microsoft.com/office/officeart/2005/8/layout/process1"/>
    <dgm:cxn modelId="{2CD248FC-67BC-4F4B-92BF-0DF0EB36A571}" type="presOf" srcId="{1ABE6D41-26CF-0C4F-AA00-33DEB4472C50}" destId="{7D8C52BA-C472-4916-A6C3-1ADCB856A44D}" srcOrd="1" destOrd="0" presId="urn:microsoft.com/office/officeart/2005/8/layout/process1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61AE0B0C-EB4B-47B8-9634-E2BCB95479FC}" type="presParOf" srcId="{A722D2B6-72A0-544B-8878-A25245C1B7DC}" destId="{AE201499-31EB-4EC0-A23B-5A9C6306C414}" srcOrd="5" destOrd="0" presId="urn:microsoft.com/office/officeart/2005/8/layout/process1"/>
    <dgm:cxn modelId="{6DE1B2F7-0864-4E38-BF7D-29A616653B2C}" type="presParOf" srcId="{AE201499-31EB-4EC0-A23B-5A9C6306C414}" destId="{7D8C52BA-C472-4916-A6C3-1ADCB856A44D}" srcOrd="0" destOrd="0" presId="urn:microsoft.com/office/officeart/2005/8/layout/process1"/>
    <dgm:cxn modelId="{01D54A65-9067-4268-AB5E-4640F9C0A49A}" type="presParOf" srcId="{A722D2B6-72A0-544B-8878-A25245C1B7DC}" destId="{A27F777A-9153-447D-B584-E72B7FEF625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0EDBE2-88EE-224F-A42F-51EBA0C80428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674325C-CC63-CA4C-89BD-AF6128AF6D8E}">
      <dgm:prSet phldrT="[Text]"/>
      <dgm:spPr/>
      <dgm:t>
        <a:bodyPr/>
        <a:lstStyle/>
        <a:p>
          <a:r>
            <a:rPr lang="en-US" dirty="0"/>
            <a:t>All Markets Ingestion</a:t>
          </a:r>
        </a:p>
        <a:p>
          <a:r>
            <a:rPr lang="en-US" b="1" dirty="0"/>
            <a:t>Nov 11</a:t>
          </a:r>
        </a:p>
      </dgm:t>
    </dgm:pt>
    <dgm:pt modelId="{F4E9CB1B-730B-064F-83E7-5B8D78196668}" type="parTrans" cxnId="{47FF049F-AEDA-BA4A-8ECE-971324E50992}">
      <dgm:prSet/>
      <dgm:spPr/>
      <dgm:t>
        <a:bodyPr/>
        <a:lstStyle/>
        <a:p>
          <a:endParaRPr lang="en-US"/>
        </a:p>
      </dgm:t>
    </dgm:pt>
    <dgm:pt modelId="{E8A96DFF-C1EF-FD43-9B72-17230B5CAE92}" type="sibTrans" cxnId="{47FF049F-AEDA-BA4A-8ECE-971324E50992}">
      <dgm:prSet/>
      <dgm:spPr/>
      <dgm:t>
        <a:bodyPr/>
        <a:lstStyle/>
        <a:p>
          <a:endParaRPr lang="en-US" dirty="0"/>
        </a:p>
      </dgm:t>
    </dgm:pt>
    <dgm:pt modelId="{3F729957-727A-764C-B27D-9D4AE217C4B6}">
      <dgm:prSet phldrT="[Text]"/>
      <dgm:spPr/>
      <dgm:t>
        <a:bodyPr/>
        <a:lstStyle/>
        <a:p>
          <a:r>
            <a:rPr lang="en-US" dirty="0"/>
            <a:t>Ingest all the markets data</a:t>
          </a:r>
        </a:p>
      </dgm:t>
    </dgm:pt>
    <dgm:pt modelId="{8915A0D1-652E-B844-8383-FD5DB617B2FB}" type="parTrans" cxnId="{1DEA568E-544E-814F-A196-81FE9F0D5419}">
      <dgm:prSet/>
      <dgm:spPr/>
      <dgm:t>
        <a:bodyPr/>
        <a:lstStyle/>
        <a:p>
          <a:endParaRPr lang="en-US"/>
        </a:p>
      </dgm:t>
    </dgm:pt>
    <dgm:pt modelId="{AF3D86D8-378B-974B-A5CF-B8EE86592238}" type="sibTrans" cxnId="{1DEA568E-544E-814F-A196-81FE9F0D5419}">
      <dgm:prSet/>
      <dgm:spPr/>
      <dgm:t>
        <a:bodyPr/>
        <a:lstStyle/>
        <a:p>
          <a:endParaRPr lang="en-US"/>
        </a:p>
      </dgm:t>
    </dgm:pt>
    <dgm:pt modelId="{6C8C6840-F200-7E45-B7D6-73ED3967F136}">
      <dgm:prSet phldrT="[Text]"/>
      <dgm:spPr/>
      <dgm:t>
        <a:bodyPr/>
        <a:lstStyle/>
        <a:p>
          <a:r>
            <a:rPr lang="en-US" dirty="0"/>
            <a:t>Business Brainstorming</a:t>
          </a:r>
        </a:p>
        <a:p>
          <a:r>
            <a:rPr lang="en-US" dirty="0"/>
            <a:t> </a:t>
          </a:r>
          <a:r>
            <a:rPr lang="en-US" b="1" dirty="0"/>
            <a:t>Nov 14</a:t>
          </a:r>
        </a:p>
      </dgm:t>
    </dgm:pt>
    <dgm:pt modelId="{F80B3EA3-89F1-554E-8808-FC7DAF555D8D}" type="parTrans" cxnId="{C6686EF8-E73B-7240-9725-63E30A0685D2}">
      <dgm:prSet/>
      <dgm:spPr/>
      <dgm:t>
        <a:bodyPr/>
        <a:lstStyle/>
        <a:p>
          <a:endParaRPr lang="en-US"/>
        </a:p>
      </dgm:t>
    </dgm:pt>
    <dgm:pt modelId="{18C336B2-6B09-9943-A629-94D26EAB4E64}" type="sibTrans" cxnId="{C6686EF8-E73B-7240-9725-63E30A0685D2}">
      <dgm:prSet/>
      <dgm:spPr/>
      <dgm:t>
        <a:bodyPr/>
        <a:lstStyle/>
        <a:p>
          <a:endParaRPr lang="en-US" dirty="0"/>
        </a:p>
      </dgm:t>
    </dgm:pt>
    <dgm:pt modelId="{3D6B2E77-CE75-7947-8CDA-C748CAE25B31}">
      <dgm:prSet phldrT="[Text]"/>
      <dgm:spPr/>
      <dgm:t>
        <a:bodyPr/>
        <a:lstStyle/>
        <a:p>
          <a:r>
            <a:rPr lang="en-US" dirty="0"/>
            <a:t>Review with Matt &amp; team</a:t>
          </a:r>
        </a:p>
      </dgm:t>
    </dgm:pt>
    <dgm:pt modelId="{AC8ABAAF-21A0-8A43-A327-4D817FC9C054}" type="parTrans" cxnId="{4FAB5CF7-12A1-6245-BFA6-EF84D269CA89}">
      <dgm:prSet/>
      <dgm:spPr/>
      <dgm:t>
        <a:bodyPr/>
        <a:lstStyle/>
        <a:p>
          <a:endParaRPr lang="en-US"/>
        </a:p>
      </dgm:t>
    </dgm:pt>
    <dgm:pt modelId="{CACCA85E-375A-FE44-BD53-9F2C0FB5C154}" type="sibTrans" cxnId="{4FAB5CF7-12A1-6245-BFA6-EF84D269CA89}">
      <dgm:prSet/>
      <dgm:spPr/>
      <dgm:t>
        <a:bodyPr/>
        <a:lstStyle/>
        <a:p>
          <a:endParaRPr lang="en-US"/>
        </a:p>
      </dgm:t>
    </dgm:pt>
    <dgm:pt modelId="{39B833EF-FFE4-2A41-96C3-B48EA97C9CFE}">
      <dgm:prSet phldrT="[Text]"/>
      <dgm:spPr/>
      <dgm:t>
        <a:bodyPr/>
        <a:lstStyle/>
        <a:p>
          <a:r>
            <a:rPr lang="en-US" dirty="0"/>
            <a:t>Final Stakeholder Review</a:t>
          </a:r>
        </a:p>
        <a:p>
          <a:r>
            <a:rPr lang="en-US" b="1" dirty="0"/>
            <a:t>Nov 27</a:t>
          </a:r>
        </a:p>
      </dgm:t>
    </dgm:pt>
    <dgm:pt modelId="{9600DAB2-88DF-F94D-BD68-0D3D35EB4571}" type="parTrans" cxnId="{F8C0AE97-603F-AF43-B18D-1B5F37F21D2D}">
      <dgm:prSet/>
      <dgm:spPr/>
      <dgm:t>
        <a:bodyPr/>
        <a:lstStyle/>
        <a:p>
          <a:endParaRPr lang="en-US"/>
        </a:p>
      </dgm:t>
    </dgm:pt>
    <dgm:pt modelId="{CE480228-5A1A-3947-896B-4EC0CB0CF697}" type="sibTrans" cxnId="{F8C0AE97-603F-AF43-B18D-1B5F37F21D2D}">
      <dgm:prSet/>
      <dgm:spPr/>
      <dgm:t>
        <a:bodyPr/>
        <a:lstStyle/>
        <a:p>
          <a:endParaRPr lang="en-US" dirty="0"/>
        </a:p>
      </dgm:t>
    </dgm:pt>
    <dgm:pt modelId="{2BC89519-3E49-AA42-9D66-AF68ABC1D77E}">
      <dgm:prSet phldrT="[Text]"/>
      <dgm:spPr/>
      <dgm:t>
        <a:bodyPr/>
        <a:lstStyle/>
        <a:p>
          <a:r>
            <a:rPr lang="en-US" dirty="0"/>
            <a:t>Final stakeholder review before production</a:t>
          </a:r>
        </a:p>
      </dgm:t>
    </dgm:pt>
    <dgm:pt modelId="{9EE5A00C-3E1D-4744-888B-1DFC14B7CC4C}" type="parTrans" cxnId="{6CC91A5B-8FFE-DD42-8D19-C272423D5B11}">
      <dgm:prSet/>
      <dgm:spPr/>
      <dgm:t>
        <a:bodyPr/>
        <a:lstStyle/>
        <a:p>
          <a:endParaRPr lang="en-US"/>
        </a:p>
      </dgm:t>
    </dgm:pt>
    <dgm:pt modelId="{7B3F378A-29C1-6842-9B63-EEE798C81297}" type="sibTrans" cxnId="{6CC91A5B-8FFE-DD42-8D19-C272423D5B11}">
      <dgm:prSet/>
      <dgm:spPr/>
      <dgm:t>
        <a:bodyPr/>
        <a:lstStyle/>
        <a:p>
          <a:endParaRPr lang="en-US"/>
        </a:p>
      </dgm:t>
    </dgm:pt>
    <dgm:pt modelId="{BC77D762-BF97-3C4E-85C9-2FD3D1CD2393}">
      <dgm:prSet phldrT="[Text]"/>
      <dgm:spPr/>
      <dgm:t>
        <a:bodyPr/>
        <a:lstStyle/>
        <a:p>
          <a:r>
            <a:rPr lang="en-US" dirty="0"/>
            <a:t>Production Go Live</a:t>
          </a:r>
        </a:p>
        <a:p>
          <a:r>
            <a:rPr lang="en-US" b="1" dirty="0"/>
            <a:t>Dec 6</a:t>
          </a:r>
        </a:p>
      </dgm:t>
    </dgm:pt>
    <dgm:pt modelId="{DAC75FA0-9608-E446-A570-C62C929857D4}" type="parTrans" cxnId="{DFBDA288-16C0-1040-85EE-FBDAC44A51FD}">
      <dgm:prSet/>
      <dgm:spPr/>
      <dgm:t>
        <a:bodyPr/>
        <a:lstStyle/>
        <a:p>
          <a:endParaRPr lang="en-US"/>
        </a:p>
      </dgm:t>
    </dgm:pt>
    <dgm:pt modelId="{985D9493-1C8A-8C43-BE83-ED35D04D8F97}" type="sibTrans" cxnId="{DFBDA288-16C0-1040-85EE-FBDAC44A51FD}">
      <dgm:prSet/>
      <dgm:spPr/>
      <dgm:t>
        <a:bodyPr/>
        <a:lstStyle/>
        <a:p>
          <a:endParaRPr lang="en-US"/>
        </a:p>
      </dgm:t>
    </dgm:pt>
    <dgm:pt modelId="{3B3DDA34-D2BB-644F-8D2B-1A6A0FCFEA0D}">
      <dgm:prSet phldrT="[Text]"/>
      <dgm:spPr/>
      <dgm:t>
        <a:bodyPr/>
        <a:lstStyle/>
        <a:p>
          <a:r>
            <a:rPr lang="en-US" dirty="0"/>
            <a:t>Automate Glue ETL</a:t>
          </a:r>
        </a:p>
        <a:p>
          <a:r>
            <a:rPr lang="en-US" b="1" dirty="0"/>
            <a:t>Nov 21</a:t>
          </a:r>
        </a:p>
      </dgm:t>
    </dgm:pt>
    <dgm:pt modelId="{F0667304-1577-E74F-A23D-D48464B64A93}" type="parTrans" cxnId="{77491BF2-C7BD-6C49-8FBD-C9FD2C19E6E8}">
      <dgm:prSet/>
      <dgm:spPr/>
      <dgm:t>
        <a:bodyPr/>
        <a:lstStyle/>
        <a:p>
          <a:endParaRPr lang="en-US"/>
        </a:p>
      </dgm:t>
    </dgm:pt>
    <dgm:pt modelId="{1ABE6D41-26CF-0C4F-AA00-33DEB4472C50}" type="sibTrans" cxnId="{77491BF2-C7BD-6C49-8FBD-C9FD2C19E6E8}">
      <dgm:prSet/>
      <dgm:spPr/>
      <dgm:t>
        <a:bodyPr/>
        <a:lstStyle/>
        <a:p>
          <a:endParaRPr lang="en-US" dirty="0"/>
        </a:p>
      </dgm:t>
    </dgm:pt>
    <dgm:pt modelId="{C0A2CD1C-249E-204D-883E-1219B13ECE84}">
      <dgm:prSet phldrT="[Text]"/>
      <dgm:spPr/>
      <dgm:t>
        <a:bodyPr/>
        <a:lstStyle/>
        <a:p>
          <a:r>
            <a:rPr lang="en-US" dirty="0"/>
            <a:t>Validate identified metrics</a:t>
          </a:r>
        </a:p>
      </dgm:t>
    </dgm:pt>
    <dgm:pt modelId="{8F1C3138-F1D1-3248-81DE-92129BD215E8}" type="parTrans" cxnId="{13F05E2C-406D-EC4F-AED2-015A9680DD1B}">
      <dgm:prSet/>
      <dgm:spPr/>
      <dgm:t>
        <a:bodyPr/>
        <a:lstStyle/>
        <a:p>
          <a:endParaRPr lang="en-US"/>
        </a:p>
      </dgm:t>
    </dgm:pt>
    <dgm:pt modelId="{4870AFB4-CA2D-FC42-A681-C78EC3277088}" type="sibTrans" cxnId="{13F05E2C-406D-EC4F-AED2-015A9680DD1B}">
      <dgm:prSet/>
      <dgm:spPr/>
      <dgm:t>
        <a:bodyPr/>
        <a:lstStyle/>
        <a:p>
          <a:endParaRPr lang="en-US"/>
        </a:p>
      </dgm:t>
    </dgm:pt>
    <dgm:pt modelId="{FA3D1FC8-D6E9-554B-BFEA-2A6470154078}">
      <dgm:prSet phldrT="[Text]"/>
      <dgm:spPr/>
      <dgm:t>
        <a:bodyPr/>
        <a:lstStyle/>
        <a:p>
          <a:r>
            <a:rPr lang="en-US" dirty="0"/>
            <a:t>Gather feedback for scope</a:t>
          </a:r>
        </a:p>
      </dgm:t>
    </dgm:pt>
    <dgm:pt modelId="{5A761358-A7C6-004D-B1AB-6360BCFA2DD0}" type="parTrans" cxnId="{AA85D1E5-5ED7-D149-B3FA-5693C0936016}">
      <dgm:prSet/>
      <dgm:spPr/>
      <dgm:t>
        <a:bodyPr/>
        <a:lstStyle/>
        <a:p>
          <a:endParaRPr lang="en-US"/>
        </a:p>
      </dgm:t>
    </dgm:pt>
    <dgm:pt modelId="{6CE7B2D2-2BED-0B42-8CED-CE32A0B161D3}" type="sibTrans" cxnId="{AA85D1E5-5ED7-D149-B3FA-5693C0936016}">
      <dgm:prSet/>
      <dgm:spPr/>
      <dgm:t>
        <a:bodyPr/>
        <a:lstStyle/>
        <a:p>
          <a:endParaRPr lang="en-US"/>
        </a:p>
      </dgm:t>
    </dgm:pt>
    <dgm:pt modelId="{2AF71B83-E6F8-B545-B4B3-16D8620F6B11}">
      <dgm:prSet phldrT="[Text]"/>
      <dgm:spPr/>
      <dgm:t>
        <a:bodyPr/>
        <a:lstStyle/>
        <a:p>
          <a:r>
            <a:rPr lang="en-US" dirty="0"/>
            <a:t>Automate ingestion and view creation</a:t>
          </a:r>
        </a:p>
      </dgm:t>
    </dgm:pt>
    <dgm:pt modelId="{90A9FD35-01B9-F34D-B989-AEEA76C82EC9}" type="parTrans" cxnId="{15704AD5-0197-B346-A6BE-BD2A570F1C58}">
      <dgm:prSet/>
      <dgm:spPr/>
      <dgm:t>
        <a:bodyPr/>
        <a:lstStyle/>
        <a:p>
          <a:endParaRPr lang="en-US"/>
        </a:p>
      </dgm:t>
    </dgm:pt>
    <dgm:pt modelId="{47F81266-1650-F54B-81BB-19129EB2C566}" type="sibTrans" cxnId="{15704AD5-0197-B346-A6BE-BD2A570F1C58}">
      <dgm:prSet/>
      <dgm:spPr/>
      <dgm:t>
        <a:bodyPr/>
        <a:lstStyle/>
        <a:p>
          <a:endParaRPr lang="en-US"/>
        </a:p>
      </dgm:t>
    </dgm:pt>
    <dgm:pt modelId="{CF71AACD-3EE4-6D41-9286-DE6977AC8C8D}">
      <dgm:prSet phldrT="[Text]"/>
      <dgm:spPr/>
      <dgm:t>
        <a:bodyPr/>
        <a:lstStyle/>
        <a:p>
          <a:r>
            <a:rPr lang="en-US" dirty="0"/>
            <a:t>Publish dashboard to tableau </a:t>
          </a:r>
        </a:p>
      </dgm:t>
    </dgm:pt>
    <dgm:pt modelId="{B48F84CC-4649-8A41-998A-E6D50963911B}" type="parTrans" cxnId="{617764DD-7C05-3540-9239-A34D0DA6D37E}">
      <dgm:prSet/>
      <dgm:spPr/>
      <dgm:t>
        <a:bodyPr/>
        <a:lstStyle/>
        <a:p>
          <a:endParaRPr lang="en-US"/>
        </a:p>
      </dgm:t>
    </dgm:pt>
    <dgm:pt modelId="{9518E977-67CE-484B-9536-5B627F903EA2}" type="sibTrans" cxnId="{617764DD-7C05-3540-9239-A34D0DA6D37E}">
      <dgm:prSet/>
      <dgm:spPr/>
      <dgm:t>
        <a:bodyPr/>
        <a:lstStyle/>
        <a:p>
          <a:endParaRPr lang="en-US"/>
        </a:p>
      </dgm:t>
    </dgm:pt>
    <dgm:pt modelId="{A722D2B6-72A0-544B-8878-A25245C1B7DC}" type="pres">
      <dgm:prSet presAssocID="{F50EDBE2-88EE-224F-A42F-51EBA0C8042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400FA3-1810-5E42-96E5-819024EA6118}" type="pres">
      <dgm:prSet presAssocID="{8674325C-CC63-CA4C-89BD-AF6128AF6D8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93A15B-9728-2C42-8D9C-749F15BA89E7}" type="pres">
      <dgm:prSet presAssocID="{E8A96DFF-C1EF-FD43-9B72-17230B5CAE92}" presName="sibTrans" presStyleLbl="sibTrans2D1" presStyleIdx="0" presStyleCnt="4"/>
      <dgm:spPr/>
      <dgm:t>
        <a:bodyPr/>
        <a:lstStyle/>
        <a:p>
          <a:endParaRPr lang="en-US"/>
        </a:p>
      </dgm:t>
    </dgm:pt>
    <dgm:pt modelId="{AC054E70-951A-F641-A627-B544F6BB537F}" type="pres">
      <dgm:prSet presAssocID="{E8A96DFF-C1EF-FD43-9B72-17230B5CAE92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8BC16F30-CB08-6F4F-85A9-579EF24E5C17}" type="pres">
      <dgm:prSet presAssocID="{6C8C6840-F200-7E45-B7D6-73ED3967F13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CCA81C-DE5A-6B44-9683-F2C3B42F2D65}" type="pres">
      <dgm:prSet presAssocID="{18C336B2-6B09-9943-A629-94D26EAB4E64}" presName="sibTrans" presStyleLbl="sibTrans2D1" presStyleIdx="1" presStyleCnt="4"/>
      <dgm:spPr/>
      <dgm:t>
        <a:bodyPr/>
        <a:lstStyle/>
        <a:p>
          <a:endParaRPr lang="en-US"/>
        </a:p>
      </dgm:t>
    </dgm:pt>
    <dgm:pt modelId="{04577EE9-4814-054F-A911-C76979DF5FA9}" type="pres">
      <dgm:prSet presAssocID="{18C336B2-6B09-9943-A629-94D26EAB4E64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BE74BAD7-3CA5-C44E-A10E-4E84FF3C7715}" type="pres">
      <dgm:prSet presAssocID="{3B3DDA34-D2BB-644F-8D2B-1A6A0FCFEA0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F32AA4-E84C-E445-9973-81D3BC24AAD8}" type="pres">
      <dgm:prSet presAssocID="{1ABE6D41-26CF-0C4F-AA00-33DEB4472C50}" presName="sibTrans" presStyleLbl="sibTrans2D1" presStyleIdx="2" presStyleCnt="4"/>
      <dgm:spPr/>
      <dgm:t>
        <a:bodyPr/>
        <a:lstStyle/>
        <a:p>
          <a:endParaRPr lang="en-US"/>
        </a:p>
      </dgm:t>
    </dgm:pt>
    <dgm:pt modelId="{331CF784-277D-9443-896B-5CBF2AA0DD39}" type="pres">
      <dgm:prSet presAssocID="{1ABE6D41-26CF-0C4F-AA00-33DEB4472C50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AC5F37C1-CB57-E348-8E7F-3A646974FFE8}" type="pres">
      <dgm:prSet presAssocID="{39B833EF-FFE4-2A41-96C3-B48EA97C9CFE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7EA8FD-FF94-B642-B643-2EDE2E6F128E}" type="pres">
      <dgm:prSet presAssocID="{CE480228-5A1A-3947-896B-4EC0CB0CF697}" presName="sibTrans" presStyleLbl="sibTrans2D1" presStyleIdx="3" presStyleCnt="4"/>
      <dgm:spPr/>
      <dgm:t>
        <a:bodyPr/>
        <a:lstStyle/>
        <a:p>
          <a:endParaRPr lang="en-US"/>
        </a:p>
      </dgm:t>
    </dgm:pt>
    <dgm:pt modelId="{B9DF387F-4C32-AF4E-99E1-41582F0EAF27}" type="pres">
      <dgm:prSet presAssocID="{CE480228-5A1A-3947-896B-4EC0CB0CF69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EC3482D0-ECFF-E041-8D18-EF6E5844C9D7}" type="pres">
      <dgm:prSet presAssocID="{BC77D762-BF97-3C4E-85C9-2FD3D1CD2393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491BF2-C7BD-6C49-8FBD-C9FD2C19E6E8}" srcId="{F50EDBE2-88EE-224F-A42F-51EBA0C80428}" destId="{3B3DDA34-D2BB-644F-8D2B-1A6A0FCFEA0D}" srcOrd="2" destOrd="0" parTransId="{F0667304-1577-E74F-A23D-D48464B64A93}" sibTransId="{1ABE6D41-26CF-0C4F-AA00-33DEB4472C50}"/>
    <dgm:cxn modelId="{3146B13F-8A08-7D4B-B8EA-3C2B6915A188}" type="presOf" srcId="{CE480228-5A1A-3947-896B-4EC0CB0CF697}" destId="{907EA8FD-FF94-B642-B643-2EDE2E6F128E}" srcOrd="0" destOrd="0" presId="urn:microsoft.com/office/officeart/2005/8/layout/process1"/>
    <dgm:cxn modelId="{3981F388-7AB9-6D42-8E6D-36DDE2494DCB}" type="presOf" srcId="{8674325C-CC63-CA4C-89BD-AF6128AF6D8E}" destId="{1E400FA3-1810-5E42-96E5-819024EA6118}" srcOrd="0" destOrd="0" presId="urn:microsoft.com/office/officeart/2005/8/layout/process1"/>
    <dgm:cxn modelId="{2870217B-F26B-FD40-9B6B-F27D2884F36F}" type="presOf" srcId="{FA3D1FC8-D6E9-554B-BFEA-2A6470154078}" destId="{8BC16F30-CB08-6F4F-85A9-579EF24E5C17}" srcOrd="0" destOrd="2" presId="urn:microsoft.com/office/officeart/2005/8/layout/process1"/>
    <dgm:cxn modelId="{DFBDA288-16C0-1040-85EE-FBDAC44A51FD}" srcId="{F50EDBE2-88EE-224F-A42F-51EBA0C80428}" destId="{BC77D762-BF97-3C4E-85C9-2FD3D1CD2393}" srcOrd="4" destOrd="0" parTransId="{DAC75FA0-9608-E446-A570-C62C929857D4}" sibTransId="{985D9493-1C8A-8C43-BE83-ED35D04D8F97}"/>
    <dgm:cxn modelId="{F8C0AE97-603F-AF43-B18D-1B5F37F21D2D}" srcId="{F50EDBE2-88EE-224F-A42F-51EBA0C80428}" destId="{39B833EF-FFE4-2A41-96C3-B48EA97C9CFE}" srcOrd="3" destOrd="0" parTransId="{9600DAB2-88DF-F94D-BD68-0D3D35EB4571}" sibTransId="{CE480228-5A1A-3947-896B-4EC0CB0CF697}"/>
    <dgm:cxn modelId="{13F05E2C-406D-EC4F-AED2-015A9680DD1B}" srcId="{8674325C-CC63-CA4C-89BD-AF6128AF6D8E}" destId="{C0A2CD1C-249E-204D-883E-1219B13ECE84}" srcOrd="1" destOrd="0" parTransId="{8F1C3138-F1D1-3248-81DE-92129BD215E8}" sibTransId="{4870AFB4-CA2D-FC42-A681-C78EC3277088}"/>
    <dgm:cxn modelId="{C6686EF8-E73B-7240-9725-63E30A0685D2}" srcId="{F50EDBE2-88EE-224F-A42F-51EBA0C80428}" destId="{6C8C6840-F200-7E45-B7D6-73ED3967F136}" srcOrd="1" destOrd="0" parTransId="{F80B3EA3-89F1-554E-8808-FC7DAF555D8D}" sibTransId="{18C336B2-6B09-9943-A629-94D26EAB4E64}"/>
    <dgm:cxn modelId="{AA85D1E5-5ED7-D149-B3FA-5693C0936016}" srcId="{6C8C6840-F200-7E45-B7D6-73ED3967F136}" destId="{FA3D1FC8-D6E9-554B-BFEA-2A6470154078}" srcOrd="1" destOrd="0" parTransId="{5A761358-A7C6-004D-B1AB-6360BCFA2DD0}" sibTransId="{6CE7B2D2-2BED-0B42-8CED-CE32A0B161D3}"/>
    <dgm:cxn modelId="{9B1B26FB-D868-154D-AADA-C4BC4AF157D3}" type="presOf" srcId="{2BC89519-3E49-AA42-9D66-AF68ABC1D77E}" destId="{AC5F37C1-CB57-E348-8E7F-3A646974FFE8}" srcOrd="0" destOrd="1" presId="urn:microsoft.com/office/officeart/2005/8/layout/process1"/>
    <dgm:cxn modelId="{F7BC337C-ED7D-5F4F-98A6-ADB1DEB4FBAA}" type="presOf" srcId="{1ABE6D41-26CF-0C4F-AA00-33DEB4472C50}" destId="{331CF784-277D-9443-896B-5CBF2AA0DD39}" srcOrd="1" destOrd="0" presId="urn:microsoft.com/office/officeart/2005/8/layout/process1"/>
    <dgm:cxn modelId="{16C99C1E-5FCF-474C-B57D-8C1EAE5EB35E}" type="presOf" srcId="{3D6B2E77-CE75-7947-8CDA-C748CAE25B31}" destId="{8BC16F30-CB08-6F4F-85A9-579EF24E5C17}" srcOrd="0" destOrd="1" presId="urn:microsoft.com/office/officeart/2005/8/layout/process1"/>
    <dgm:cxn modelId="{27D930EB-36A6-1844-A570-9FDADA835C8A}" type="presOf" srcId="{1ABE6D41-26CF-0C4F-AA00-33DEB4472C50}" destId="{C3F32AA4-E84C-E445-9973-81D3BC24AAD8}" srcOrd="0" destOrd="0" presId="urn:microsoft.com/office/officeart/2005/8/layout/process1"/>
    <dgm:cxn modelId="{A74B9E98-4013-D149-9944-544F24EB89B3}" type="presOf" srcId="{CF71AACD-3EE4-6D41-9286-DE6977AC8C8D}" destId="{EC3482D0-ECFF-E041-8D18-EF6E5844C9D7}" srcOrd="0" destOrd="1" presId="urn:microsoft.com/office/officeart/2005/8/layout/process1"/>
    <dgm:cxn modelId="{47FF049F-AEDA-BA4A-8ECE-971324E50992}" srcId="{F50EDBE2-88EE-224F-A42F-51EBA0C80428}" destId="{8674325C-CC63-CA4C-89BD-AF6128AF6D8E}" srcOrd="0" destOrd="0" parTransId="{F4E9CB1B-730B-064F-83E7-5B8D78196668}" sibTransId="{E8A96DFF-C1EF-FD43-9B72-17230B5CAE92}"/>
    <dgm:cxn modelId="{B81FF5AE-5293-EF45-9859-924DB2B755F2}" type="presOf" srcId="{CE480228-5A1A-3947-896B-4EC0CB0CF697}" destId="{B9DF387F-4C32-AF4E-99E1-41582F0EAF27}" srcOrd="1" destOrd="0" presId="urn:microsoft.com/office/officeart/2005/8/layout/process1"/>
    <dgm:cxn modelId="{46D04D85-3BEE-5147-A2B8-2922A0843A2A}" type="presOf" srcId="{2AF71B83-E6F8-B545-B4B3-16D8620F6B11}" destId="{BE74BAD7-3CA5-C44E-A10E-4E84FF3C7715}" srcOrd="0" destOrd="1" presId="urn:microsoft.com/office/officeart/2005/8/layout/process1"/>
    <dgm:cxn modelId="{BD204166-5452-6D4E-8BAD-997010636E28}" type="presOf" srcId="{C0A2CD1C-249E-204D-883E-1219B13ECE84}" destId="{1E400FA3-1810-5E42-96E5-819024EA6118}" srcOrd="0" destOrd="2" presId="urn:microsoft.com/office/officeart/2005/8/layout/process1"/>
    <dgm:cxn modelId="{EDE9FEA8-CBD5-1F46-B5A4-9A9599ABFBD0}" type="presOf" srcId="{18C336B2-6B09-9943-A629-94D26EAB4E64}" destId="{04577EE9-4814-054F-A911-C76979DF5FA9}" srcOrd="1" destOrd="0" presId="urn:microsoft.com/office/officeart/2005/8/layout/process1"/>
    <dgm:cxn modelId="{1DEA568E-544E-814F-A196-81FE9F0D5419}" srcId="{8674325C-CC63-CA4C-89BD-AF6128AF6D8E}" destId="{3F729957-727A-764C-B27D-9D4AE217C4B6}" srcOrd="0" destOrd="0" parTransId="{8915A0D1-652E-B844-8383-FD5DB617B2FB}" sibTransId="{AF3D86D8-378B-974B-A5CF-B8EE86592238}"/>
    <dgm:cxn modelId="{2C150111-FD35-A44E-B54A-F6FF8E5B48F0}" type="presOf" srcId="{E8A96DFF-C1EF-FD43-9B72-17230B5CAE92}" destId="{7D93A15B-9728-2C42-8D9C-749F15BA89E7}" srcOrd="0" destOrd="0" presId="urn:microsoft.com/office/officeart/2005/8/layout/process1"/>
    <dgm:cxn modelId="{15704AD5-0197-B346-A6BE-BD2A570F1C58}" srcId="{3B3DDA34-D2BB-644F-8D2B-1A6A0FCFEA0D}" destId="{2AF71B83-E6F8-B545-B4B3-16D8620F6B11}" srcOrd="0" destOrd="0" parTransId="{90A9FD35-01B9-F34D-B989-AEEA76C82EC9}" sibTransId="{47F81266-1650-F54B-81BB-19129EB2C566}"/>
    <dgm:cxn modelId="{D57901D5-63F7-DB49-9A6A-E7F763707E8C}" type="presOf" srcId="{E8A96DFF-C1EF-FD43-9B72-17230B5CAE92}" destId="{AC054E70-951A-F641-A627-B544F6BB537F}" srcOrd="1" destOrd="0" presId="urn:microsoft.com/office/officeart/2005/8/layout/process1"/>
    <dgm:cxn modelId="{938CEE72-3463-DB45-9185-A865A9E9615C}" type="presOf" srcId="{3B3DDA34-D2BB-644F-8D2B-1A6A0FCFEA0D}" destId="{BE74BAD7-3CA5-C44E-A10E-4E84FF3C7715}" srcOrd="0" destOrd="0" presId="urn:microsoft.com/office/officeart/2005/8/layout/process1"/>
    <dgm:cxn modelId="{28F89FEA-6C2C-F84A-8226-AEAAC081259A}" type="presOf" srcId="{39B833EF-FFE4-2A41-96C3-B48EA97C9CFE}" destId="{AC5F37C1-CB57-E348-8E7F-3A646974FFE8}" srcOrd="0" destOrd="0" presId="urn:microsoft.com/office/officeart/2005/8/layout/process1"/>
    <dgm:cxn modelId="{6CC91A5B-8FFE-DD42-8D19-C272423D5B11}" srcId="{39B833EF-FFE4-2A41-96C3-B48EA97C9CFE}" destId="{2BC89519-3E49-AA42-9D66-AF68ABC1D77E}" srcOrd="0" destOrd="0" parTransId="{9EE5A00C-3E1D-4744-888B-1DFC14B7CC4C}" sibTransId="{7B3F378A-29C1-6842-9B63-EEE798C81297}"/>
    <dgm:cxn modelId="{7E1A1091-00DF-9348-B293-9DC12A9AEA23}" type="presOf" srcId="{18C336B2-6B09-9943-A629-94D26EAB4E64}" destId="{04CCA81C-DE5A-6B44-9683-F2C3B42F2D65}" srcOrd="0" destOrd="0" presId="urn:microsoft.com/office/officeart/2005/8/layout/process1"/>
    <dgm:cxn modelId="{D8C606EE-92A2-6148-ACB0-A4D102C6CDFF}" type="presOf" srcId="{F50EDBE2-88EE-224F-A42F-51EBA0C80428}" destId="{A722D2B6-72A0-544B-8878-A25245C1B7DC}" srcOrd="0" destOrd="0" presId="urn:microsoft.com/office/officeart/2005/8/layout/process1"/>
    <dgm:cxn modelId="{5E7EF86B-C41A-334D-8E5D-36D3340FAB08}" type="presOf" srcId="{3F729957-727A-764C-B27D-9D4AE217C4B6}" destId="{1E400FA3-1810-5E42-96E5-819024EA6118}" srcOrd="0" destOrd="1" presId="urn:microsoft.com/office/officeart/2005/8/layout/process1"/>
    <dgm:cxn modelId="{3509BC5E-0DDB-3D41-A088-8C549C5B00D6}" type="presOf" srcId="{BC77D762-BF97-3C4E-85C9-2FD3D1CD2393}" destId="{EC3482D0-ECFF-E041-8D18-EF6E5844C9D7}" srcOrd="0" destOrd="0" presId="urn:microsoft.com/office/officeart/2005/8/layout/process1"/>
    <dgm:cxn modelId="{51EC86FF-1435-0F4C-988E-4E88EA8E3A36}" type="presOf" srcId="{6C8C6840-F200-7E45-B7D6-73ED3967F136}" destId="{8BC16F30-CB08-6F4F-85A9-579EF24E5C17}" srcOrd="0" destOrd="0" presId="urn:microsoft.com/office/officeart/2005/8/layout/process1"/>
    <dgm:cxn modelId="{617764DD-7C05-3540-9239-A34D0DA6D37E}" srcId="{BC77D762-BF97-3C4E-85C9-2FD3D1CD2393}" destId="{CF71AACD-3EE4-6D41-9286-DE6977AC8C8D}" srcOrd="0" destOrd="0" parTransId="{B48F84CC-4649-8A41-998A-E6D50963911B}" sibTransId="{9518E977-67CE-484B-9536-5B627F903EA2}"/>
    <dgm:cxn modelId="{4FAB5CF7-12A1-6245-BFA6-EF84D269CA89}" srcId="{6C8C6840-F200-7E45-B7D6-73ED3967F136}" destId="{3D6B2E77-CE75-7947-8CDA-C748CAE25B31}" srcOrd="0" destOrd="0" parTransId="{AC8ABAAF-21A0-8A43-A327-4D817FC9C054}" sibTransId="{CACCA85E-375A-FE44-BD53-9F2C0FB5C154}"/>
    <dgm:cxn modelId="{F0268A95-CFB8-FC41-90FF-DBC2949E3C04}" type="presParOf" srcId="{A722D2B6-72A0-544B-8878-A25245C1B7DC}" destId="{1E400FA3-1810-5E42-96E5-819024EA6118}" srcOrd="0" destOrd="0" presId="urn:microsoft.com/office/officeart/2005/8/layout/process1"/>
    <dgm:cxn modelId="{23104EA3-5E4A-5446-B6F8-BD6EBCB95567}" type="presParOf" srcId="{A722D2B6-72A0-544B-8878-A25245C1B7DC}" destId="{7D93A15B-9728-2C42-8D9C-749F15BA89E7}" srcOrd="1" destOrd="0" presId="urn:microsoft.com/office/officeart/2005/8/layout/process1"/>
    <dgm:cxn modelId="{2A9CB177-C30D-774E-B650-DFD6B8E72A0D}" type="presParOf" srcId="{7D93A15B-9728-2C42-8D9C-749F15BA89E7}" destId="{AC054E70-951A-F641-A627-B544F6BB537F}" srcOrd="0" destOrd="0" presId="urn:microsoft.com/office/officeart/2005/8/layout/process1"/>
    <dgm:cxn modelId="{D2CBCC34-73E7-EB45-A0A2-50337254053D}" type="presParOf" srcId="{A722D2B6-72A0-544B-8878-A25245C1B7DC}" destId="{8BC16F30-CB08-6F4F-85A9-579EF24E5C17}" srcOrd="2" destOrd="0" presId="urn:microsoft.com/office/officeart/2005/8/layout/process1"/>
    <dgm:cxn modelId="{66D84FCB-19F8-FD44-8641-20869DDD3C5C}" type="presParOf" srcId="{A722D2B6-72A0-544B-8878-A25245C1B7DC}" destId="{04CCA81C-DE5A-6B44-9683-F2C3B42F2D65}" srcOrd="3" destOrd="0" presId="urn:microsoft.com/office/officeart/2005/8/layout/process1"/>
    <dgm:cxn modelId="{0D0C7C1B-2875-EB4F-8D41-4CB86AF876E9}" type="presParOf" srcId="{04CCA81C-DE5A-6B44-9683-F2C3B42F2D65}" destId="{04577EE9-4814-054F-A911-C76979DF5FA9}" srcOrd="0" destOrd="0" presId="urn:microsoft.com/office/officeart/2005/8/layout/process1"/>
    <dgm:cxn modelId="{DCF5EC86-9FD0-5543-8877-6F3FC521D7AE}" type="presParOf" srcId="{A722D2B6-72A0-544B-8878-A25245C1B7DC}" destId="{BE74BAD7-3CA5-C44E-A10E-4E84FF3C7715}" srcOrd="4" destOrd="0" presId="urn:microsoft.com/office/officeart/2005/8/layout/process1"/>
    <dgm:cxn modelId="{A50ADE02-F3AC-164C-86D9-753568E70003}" type="presParOf" srcId="{A722D2B6-72A0-544B-8878-A25245C1B7DC}" destId="{C3F32AA4-E84C-E445-9973-81D3BC24AAD8}" srcOrd="5" destOrd="0" presId="urn:microsoft.com/office/officeart/2005/8/layout/process1"/>
    <dgm:cxn modelId="{B1922D29-181D-484A-BB7C-8962B02FFBBB}" type="presParOf" srcId="{C3F32AA4-E84C-E445-9973-81D3BC24AAD8}" destId="{331CF784-277D-9443-896B-5CBF2AA0DD39}" srcOrd="0" destOrd="0" presId="urn:microsoft.com/office/officeart/2005/8/layout/process1"/>
    <dgm:cxn modelId="{B12E72C8-3940-674A-8699-D566A6750260}" type="presParOf" srcId="{A722D2B6-72A0-544B-8878-A25245C1B7DC}" destId="{AC5F37C1-CB57-E348-8E7F-3A646974FFE8}" srcOrd="6" destOrd="0" presId="urn:microsoft.com/office/officeart/2005/8/layout/process1"/>
    <dgm:cxn modelId="{00EE1DF8-4A47-0F46-81A6-D2EC72631984}" type="presParOf" srcId="{A722D2B6-72A0-544B-8878-A25245C1B7DC}" destId="{907EA8FD-FF94-B642-B643-2EDE2E6F128E}" srcOrd="7" destOrd="0" presId="urn:microsoft.com/office/officeart/2005/8/layout/process1"/>
    <dgm:cxn modelId="{A915922C-195F-7B4F-BA49-FF5F2074697D}" type="presParOf" srcId="{907EA8FD-FF94-B642-B643-2EDE2E6F128E}" destId="{B9DF387F-4C32-AF4E-99E1-41582F0EAF27}" srcOrd="0" destOrd="0" presId="urn:microsoft.com/office/officeart/2005/8/layout/process1"/>
    <dgm:cxn modelId="{0FF73475-D5AB-3D46-A7DD-65B2BB005537}" type="presParOf" srcId="{A722D2B6-72A0-544B-8878-A25245C1B7DC}" destId="{EC3482D0-ECFF-E041-8D18-EF6E5844C9D7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4740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Stakeholder Review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5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Ingest all the markets data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Validate identified metrics</a:t>
          </a:r>
        </a:p>
      </dsp:txBody>
      <dsp:txXfrm>
        <a:off x="29094" y="24354"/>
        <a:ext cx="2024138" cy="782794"/>
      </dsp:txXfrm>
    </dsp:sp>
    <dsp:sp modelId="{7D93A15B-9728-2C42-8D9C-749F15BA89E7}">
      <dsp:nvSpPr>
        <dsp:cNvPr id="0" name=""/>
        <dsp:cNvSpPr/>
      </dsp:nvSpPr>
      <dsp:spPr>
        <a:xfrm>
          <a:off x="2284871" y="158718"/>
          <a:ext cx="439443" cy="514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2284871" y="261531"/>
        <a:ext cx="307610" cy="308439"/>
      </dsp:txXfrm>
    </dsp:sp>
    <dsp:sp modelId="{8BC16F30-CB08-6F4F-85A9-579EF24E5C17}">
      <dsp:nvSpPr>
        <dsp:cNvPr id="0" name=""/>
        <dsp:cNvSpPr/>
      </dsp:nvSpPr>
      <dsp:spPr>
        <a:xfrm>
          <a:off x="2906725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Production Go Live ( Soft Launch)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6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Publish dashboard to tableau </a:t>
          </a:r>
          <a:endParaRPr lang="en-US" sz="1100" b="1" kern="1200" dirty="0"/>
        </a:p>
      </dsp:txBody>
      <dsp:txXfrm>
        <a:off x="2931079" y="24354"/>
        <a:ext cx="2024138" cy="782794"/>
      </dsp:txXfrm>
    </dsp:sp>
    <dsp:sp modelId="{04CCA81C-DE5A-6B44-9683-F2C3B42F2D65}">
      <dsp:nvSpPr>
        <dsp:cNvPr id="0" name=""/>
        <dsp:cNvSpPr/>
      </dsp:nvSpPr>
      <dsp:spPr>
        <a:xfrm>
          <a:off x="5186856" y="158718"/>
          <a:ext cx="439443" cy="514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5186856" y="261531"/>
        <a:ext cx="307610" cy="308439"/>
      </dsp:txXfrm>
    </dsp:sp>
    <dsp:sp modelId="{BE74BAD7-3CA5-C44E-A10E-4E84FF3C7715}">
      <dsp:nvSpPr>
        <dsp:cNvPr id="0" name=""/>
        <dsp:cNvSpPr/>
      </dsp:nvSpPr>
      <dsp:spPr>
        <a:xfrm>
          <a:off x="5808710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Business Review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20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b="1" kern="1200" dirty="0"/>
            <a:t>Add Digital adoption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b="1" kern="1200" dirty="0"/>
            <a:t>Add Email/SMS Bounce</a:t>
          </a:r>
        </a:p>
      </dsp:txBody>
      <dsp:txXfrm>
        <a:off x="5833064" y="24354"/>
        <a:ext cx="2024138" cy="782794"/>
      </dsp:txXfrm>
    </dsp:sp>
    <dsp:sp modelId="{AE201499-31EB-4EC0-A23B-5A9C6306C414}">
      <dsp:nvSpPr>
        <dsp:cNvPr id="0" name=""/>
        <dsp:cNvSpPr/>
      </dsp:nvSpPr>
      <dsp:spPr>
        <a:xfrm>
          <a:off x="8088841" y="158718"/>
          <a:ext cx="439443" cy="514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8088841" y="261531"/>
        <a:ext cx="307610" cy="308439"/>
      </dsp:txXfrm>
    </dsp:sp>
    <dsp:sp modelId="{A27F777A-9153-447D-B584-E72B7FEF625E}">
      <dsp:nvSpPr>
        <dsp:cNvPr id="0" name=""/>
        <dsp:cNvSpPr/>
      </dsp:nvSpPr>
      <dsp:spPr>
        <a:xfrm>
          <a:off x="8710694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ETL Automation &amp; Dashboard Optimization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26</a:t>
          </a:r>
        </a:p>
      </dsp:txBody>
      <dsp:txXfrm>
        <a:off x="8735048" y="24354"/>
        <a:ext cx="2024138" cy="7827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4918" y="0"/>
          <a:ext cx="2150465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Designing a Dynamic Data Model </a:t>
          </a:r>
          <a:endParaRPr lang="en-US" sz="900" kern="1200" dirty="0"/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20</a:t>
          </a:r>
          <a:r>
            <a:rPr lang="en-US" sz="900" b="1" kern="1200" baseline="30000" dirty="0" smtClean="0"/>
            <a:t>th</a:t>
          </a:r>
          <a:r>
            <a:rPr lang="en-US" sz="900" b="1" kern="1200" dirty="0" smtClean="0"/>
            <a:t> Dec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-</a:t>
          </a:r>
          <a:r>
            <a:rPr lang="en-US" sz="900" kern="1200" dirty="0" smtClean="0"/>
            <a:t>Ingest all the markets data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-Validate identified metrics</a:t>
          </a:r>
          <a:endParaRPr lang="en-US" sz="900" b="1" kern="1200" dirty="0"/>
        </a:p>
      </dsp:txBody>
      <dsp:txXfrm>
        <a:off x="29272" y="24354"/>
        <a:ext cx="2101757" cy="782794"/>
      </dsp:txXfrm>
    </dsp:sp>
    <dsp:sp modelId="{7D93A15B-9728-2C42-8D9C-749F15BA89E7}">
      <dsp:nvSpPr>
        <dsp:cNvPr id="0" name=""/>
        <dsp:cNvSpPr/>
      </dsp:nvSpPr>
      <dsp:spPr>
        <a:xfrm>
          <a:off x="2370430" y="149093"/>
          <a:ext cx="455898" cy="5333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/>
        </a:p>
      </dsp:txBody>
      <dsp:txXfrm>
        <a:off x="2370430" y="255756"/>
        <a:ext cx="319129" cy="319989"/>
      </dsp:txXfrm>
    </dsp:sp>
    <dsp:sp modelId="{8BC16F30-CB08-6F4F-85A9-579EF24E5C17}">
      <dsp:nvSpPr>
        <dsp:cNvPr id="0" name=""/>
        <dsp:cNvSpPr/>
      </dsp:nvSpPr>
      <dsp:spPr>
        <a:xfrm>
          <a:off x="3015569" y="0"/>
          <a:ext cx="2150465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Production Go Live ( Soft Launch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/>
            <a:t>Dec </a:t>
          </a:r>
          <a:r>
            <a:rPr lang="en-US" sz="900" b="1" kern="1200" dirty="0" smtClean="0"/>
            <a:t>27</a:t>
          </a:r>
          <a:r>
            <a:rPr lang="en-US" sz="900" b="1" kern="1200" baseline="30000" dirty="0" smtClean="0"/>
            <a:t>th</a:t>
          </a:r>
          <a:r>
            <a:rPr lang="en-US" sz="900" b="1" kern="1200" dirty="0" smtClean="0"/>
            <a:t> </a:t>
          </a:r>
          <a:endParaRPr lang="en-US" sz="900" b="1" kern="1200" dirty="0"/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-</a:t>
          </a:r>
          <a:r>
            <a:rPr lang="en-US" sz="900" kern="1200" dirty="0" smtClean="0"/>
            <a:t>Create Data Ingestion Pipeline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- Test the data ingestion from source</a:t>
          </a:r>
        </a:p>
      </dsp:txBody>
      <dsp:txXfrm>
        <a:off x="3039923" y="24354"/>
        <a:ext cx="2101757" cy="782794"/>
      </dsp:txXfrm>
    </dsp:sp>
    <dsp:sp modelId="{04CCA81C-DE5A-6B44-9683-F2C3B42F2D65}">
      <dsp:nvSpPr>
        <dsp:cNvPr id="0" name=""/>
        <dsp:cNvSpPr/>
      </dsp:nvSpPr>
      <dsp:spPr>
        <a:xfrm>
          <a:off x="5381081" y="149093"/>
          <a:ext cx="455898" cy="5333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/>
        </a:p>
      </dsp:txBody>
      <dsp:txXfrm>
        <a:off x="5381081" y="255756"/>
        <a:ext cx="319129" cy="319989"/>
      </dsp:txXfrm>
    </dsp:sp>
    <dsp:sp modelId="{BE74BAD7-3CA5-C44E-A10E-4E84FF3C7715}">
      <dsp:nvSpPr>
        <dsp:cNvPr id="0" name=""/>
        <dsp:cNvSpPr/>
      </dsp:nvSpPr>
      <dsp:spPr>
        <a:xfrm>
          <a:off x="6026221" y="0"/>
          <a:ext cx="2150465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Queries and Aggregate Optimization</a:t>
          </a:r>
          <a:endParaRPr lang="en-US" sz="900" kern="1200" dirty="0"/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Jan 03</a:t>
          </a:r>
          <a:r>
            <a:rPr lang="en-US" sz="900" b="1" kern="1200" baseline="30000" dirty="0" smtClean="0"/>
            <a:t>rd</a:t>
          </a:r>
          <a:r>
            <a:rPr lang="en-US" sz="900" b="1" kern="1200" dirty="0" smtClean="0"/>
            <a:t> </a:t>
          </a:r>
          <a:endParaRPr lang="en-US" sz="900" b="1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700" b="1" kern="1200" dirty="0"/>
            <a:t>Add Digital adoption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700" b="1" kern="1200" dirty="0"/>
            <a:t>Add Email/SMS Bounce</a:t>
          </a:r>
        </a:p>
      </dsp:txBody>
      <dsp:txXfrm>
        <a:off x="6050575" y="24354"/>
        <a:ext cx="2101757" cy="782794"/>
      </dsp:txXfrm>
    </dsp:sp>
    <dsp:sp modelId="{AE201499-31EB-4EC0-A23B-5A9C6306C414}">
      <dsp:nvSpPr>
        <dsp:cNvPr id="0" name=""/>
        <dsp:cNvSpPr/>
      </dsp:nvSpPr>
      <dsp:spPr>
        <a:xfrm>
          <a:off x="8391732" y="149093"/>
          <a:ext cx="455898" cy="5333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/>
        </a:p>
      </dsp:txBody>
      <dsp:txXfrm>
        <a:off x="8391732" y="255756"/>
        <a:ext cx="319129" cy="319989"/>
      </dsp:txXfrm>
    </dsp:sp>
    <dsp:sp modelId="{A27F777A-9153-447D-B584-E72B7FEF625E}">
      <dsp:nvSpPr>
        <dsp:cNvPr id="0" name=""/>
        <dsp:cNvSpPr/>
      </dsp:nvSpPr>
      <dsp:spPr>
        <a:xfrm>
          <a:off x="9036872" y="0"/>
          <a:ext cx="2150465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Stakeholder Review and Deployment</a:t>
          </a:r>
          <a:endParaRPr lang="en-US" sz="900" kern="1200" dirty="0"/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TBD</a:t>
          </a:r>
          <a:endParaRPr lang="en-US" sz="900" b="1" kern="1200" dirty="0"/>
        </a:p>
      </dsp:txBody>
      <dsp:txXfrm>
        <a:off x="9061226" y="24354"/>
        <a:ext cx="2101757" cy="7827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4740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Validate all 11 Dashboards for data validations till  September</a:t>
          </a:r>
          <a:endParaRPr lang="en-US" sz="800" kern="1200" dirty="0"/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Nov 13</a:t>
          </a:r>
          <a:r>
            <a:rPr lang="en-US" sz="800" b="1" kern="1200" baseline="30000" dirty="0" smtClean="0"/>
            <a:t>th</a:t>
          </a:r>
          <a:r>
            <a:rPr lang="en-US" sz="800" b="1" kern="1200" dirty="0" smtClean="0"/>
            <a:t> 2024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-</a:t>
          </a:r>
          <a:r>
            <a:rPr lang="en-US" sz="800" kern="1200" dirty="0" smtClean="0"/>
            <a:t>Identify the data gaps with dashboards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-Validate the working of the visuals</a:t>
          </a:r>
          <a:endParaRPr lang="en-US" sz="800" b="1" kern="1200" dirty="0"/>
        </a:p>
      </dsp:txBody>
      <dsp:txXfrm>
        <a:off x="29094" y="24354"/>
        <a:ext cx="2024138" cy="782794"/>
      </dsp:txXfrm>
    </dsp:sp>
    <dsp:sp modelId="{7D93A15B-9728-2C42-8D9C-749F15BA89E7}">
      <dsp:nvSpPr>
        <dsp:cNvPr id="0" name=""/>
        <dsp:cNvSpPr/>
      </dsp:nvSpPr>
      <dsp:spPr>
        <a:xfrm>
          <a:off x="2284871" y="158718"/>
          <a:ext cx="439443" cy="514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/>
        </a:p>
      </dsp:txBody>
      <dsp:txXfrm>
        <a:off x="2284871" y="261531"/>
        <a:ext cx="307610" cy="308439"/>
      </dsp:txXfrm>
    </dsp:sp>
    <dsp:sp modelId="{8BC16F30-CB08-6F4F-85A9-579EF24E5C17}">
      <dsp:nvSpPr>
        <dsp:cNvPr id="0" name=""/>
        <dsp:cNvSpPr/>
      </dsp:nvSpPr>
      <dsp:spPr>
        <a:xfrm>
          <a:off x="2906725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Work with the data teams for open data issues and refreshing the data 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Nov 27</a:t>
          </a:r>
          <a:r>
            <a:rPr lang="en-US" sz="800" b="1" kern="1200" baseline="30000" dirty="0" smtClean="0"/>
            <a:t>th</a:t>
          </a:r>
          <a:r>
            <a:rPr lang="en-US" sz="800" b="1" kern="1200" dirty="0" smtClean="0"/>
            <a:t> 2024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-Raise the data issues with the data team 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-Validate the dashboards post the data updates</a:t>
          </a:r>
          <a:endParaRPr lang="en-US" sz="800" kern="1200" dirty="0"/>
        </a:p>
      </dsp:txBody>
      <dsp:txXfrm>
        <a:off x="2931079" y="24354"/>
        <a:ext cx="2024138" cy="782794"/>
      </dsp:txXfrm>
    </dsp:sp>
    <dsp:sp modelId="{04CCA81C-DE5A-6B44-9683-F2C3B42F2D65}">
      <dsp:nvSpPr>
        <dsp:cNvPr id="0" name=""/>
        <dsp:cNvSpPr/>
      </dsp:nvSpPr>
      <dsp:spPr>
        <a:xfrm>
          <a:off x="5186856" y="158718"/>
          <a:ext cx="439443" cy="514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/>
        </a:p>
      </dsp:txBody>
      <dsp:txXfrm>
        <a:off x="5186856" y="261531"/>
        <a:ext cx="307610" cy="308439"/>
      </dsp:txXfrm>
    </dsp:sp>
    <dsp:sp modelId="{BE74BAD7-3CA5-C44E-A10E-4E84FF3C7715}">
      <dsp:nvSpPr>
        <dsp:cNvPr id="0" name=""/>
        <dsp:cNvSpPr/>
      </dsp:nvSpPr>
      <dsp:spPr>
        <a:xfrm>
          <a:off x="5808710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Work with the data teams for open data issues and refreshing the data 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Dec 15</a:t>
          </a:r>
          <a:r>
            <a:rPr lang="en-US" sz="800" b="1" kern="1200" baseline="30000" dirty="0" smtClean="0"/>
            <a:t>th</a:t>
          </a:r>
          <a:r>
            <a:rPr lang="en-US" sz="800" b="1" kern="1200" dirty="0" smtClean="0"/>
            <a:t> 2024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-Validated all dashboards with updated data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-Continuously refresh  all 22 data sources  </a:t>
          </a:r>
          <a:endParaRPr lang="en-US" sz="800" b="1" kern="1200" dirty="0"/>
        </a:p>
      </dsp:txBody>
      <dsp:txXfrm>
        <a:off x="5833064" y="24354"/>
        <a:ext cx="2024138" cy="782794"/>
      </dsp:txXfrm>
    </dsp:sp>
    <dsp:sp modelId="{AE201499-31EB-4EC0-A23B-5A9C6306C414}">
      <dsp:nvSpPr>
        <dsp:cNvPr id="0" name=""/>
        <dsp:cNvSpPr/>
      </dsp:nvSpPr>
      <dsp:spPr>
        <a:xfrm>
          <a:off x="8088841" y="158718"/>
          <a:ext cx="439443" cy="514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/>
        </a:p>
      </dsp:txBody>
      <dsp:txXfrm>
        <a:off x="8088841" y="261531"/>
        <a:ext cx="307610" cy="308439"/>
      </dsp:txXfrm>
    </dsp:sp>
    <dsp:sp modelId="{A27F777A-9153-447D-B584-E72B7FEF625E}">
      <dsp:nvSpPr>
        <dsp:cNvPr id="0" name=""/>
        <dsp:cNvSpPr/>
      </dsp:nvSpPr>
      <dsp:spPr>
        <a:xfrm>
          <a:off x="8710694" y="0"/>
          <a:ext cx="2072846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Post Migration Support</a:t>
          </a:r>
          <a:endParaRPr lang="en-US" sz="800" kern="1200" dirty="0"/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1" kern="1200" dirty="0" smtClean="0"/>
            <a:t>TBD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b="1" kern="1200" dirty="0"/>
        </a:p>
      </dsp:txBody>
      <dsp:txXfrm>
        <a:off x="8735048" y="24354"/>
        <a:ext cx="2024138" cy="78279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400FA3-1810-5E42-96E5-819024EA6118}">
      <dsp:nvSpPr>
        <dsp:cNvPr id="0" name=""/>
        <dsp:cNvSpPr/>
      </dsp:nvSpPr>
      <dsp:spPr>
        <a:xfrm>
          <a:off x="5220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All Markets Ingestion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11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Ingest all the markets data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Validate identified metrics</a:t>
          </a:r>
        </a:p>
      </dsp:txBody>
      <dsp:txXfrm>
        <a:off x="29574" y="24354"/>
        <a:ext cx="1569640" cy="782794"/>
      </dsp:txXfrm>
    </dsp:sp>
    <dsp:sp modelId="{7D93A15B-9728-2C42-8D9C-749F15BA89E7}">
      <dsp:nvSpPr>
        <dsp:cNvPr id="0" name=""/>
        <dsp:cNvSpPr/>
      </dsp:nvSpPr>
      <dsp:spPr>
        <a:xfrm>
          <a:off x="1785403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1785403" y="295346"/>
        <a:ext cx="240162" cy="240810"/>
      </dsp:txXfrm>
    </dsp:sp>
    <dsp:sp modelId="{8BC16F30-CB08-6F4F-85A9-579EF24E5C17}">
      <dsp:nvSpPr>
        <dsp:cNvPr id="0" name=""/>
        <dsp:cNvSpPr/>
      </dsp:nvSpPr>
      <dsp:spPr>
        <a:xfrm>
          <a:off x="2270908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Business Brainstorming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 </a:t>
          </a:r>
          <a:r>
            <a:rPr lang="en-US" sz="1100" b="1" kern="1200" dirty="0"/>
            <a:t>Nov 1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Review with Matt &amp; team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Gather feedback for scope</a:t>
          </a:r>
        </a:p>
      </dsp:txBody>
      <dsp:txXfrm>
        <a:off x="2295262" y="24354"/>
        <a:ext cx="1569640" cy="782794"/>
      </dsp:txXfrm>
    </dsp:sp>
    <dsp:sp modelId="{04CCA81C-DE5A-6B44-9683-F2C3B42F2D65}">
      <dsp:nvSpPr>
        <dsp:cNvPr id="0" name=""/>
        <dsp:cNvSpPr/>
      </dsp:nvSpPr>
      <dsp:spPr>
        <a:xfrm>
          <a:off x="4051092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4051092" y="295346"/>
        <a:ext cx="240162" cy="240810"/>
      </dsp:txXfrm>
    </dsp:sp>
    <dsp:sp modelId="{BE74BAD7-3CA5-C44E-A10E-4E84FF3C7715}">
      <dsp:nvSpPr>
        <dsp:cNvPr id="0" name=""/>
        <dsp:cNvSpPr/>
      </dsp:nvSpPr>
      <dsp:spPr>
        <a:xfrm>
          <a:off x="4536596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Automate Glue ETL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21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Automate ingestion and view creation</a:t>
          </a:r>
        </a:p>
      </dsp:txBody>
      <dsp:txXfrm>
        <a:off x="4560950" y="24354"/>
        <a:ext cx="1569640" cy="782794"/>
      </dsp:txXfrm>
    </dsp:sp>
    <dsp:sp modelId="{C3F32AA4-E84C-E445-9973-81D3BC24AAD8}">
      <dsp:nvSpPr>
        <dsp:cNvPr id="0" name=""/>
        <dsp:cNvSpPr/>
      </dsp:nvSpPr>
      <dsp:spPr>
        <a:xfrm>
          <a:off x="6316780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6316780" y="295346"/>
        <a:ext cx="240162" cy="240810"/>
      </dsp:txXfrm>
    </dsp:sp>
    <dsp:sp modelId="{AC5F37C1-CB57-E348-8E7F-3A646974FFE8}">
      <dsp:nvSpPr>
        <dsp:cNvPr id="0" name=""/>
        <dsp:cNvSpPr/>
      </dsp:nvSpPr>
      <dsp:spPr>
        <a:xfrm>
          <a:off x="6802284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Final Stakeholder Review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Nov 27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Final stakeholder review before production</a:t>
          </a:r>
        </a:p>
      </dsp:txBody>
      <dsp:txXfrm>
        <a:off x="6826638" y="24354"/>
        <a:ext cx="1569640" cy="782794"/>
      </dsp:txXfrm>
    </dsp:sp>
    <dsp:sp modelId="{907EA8FD-FF94-B642-B643-2EDE2E6F128E}">
      <dsp:nvSpPr>
        <dsp:cNvPr id="0" name=""/>
        <dsp:cNvSpPr/>
      </dsp:nvSpPr>
      <dsp:spPr>
        <a:xfrm>
          <a:off x="8582468" y="215076"/>
          <a:ext cx="343089" cy="4013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8582468" y="295346"/>
        <a:ext cx="240162" cy="240810"/>
      </dsp:txXfrm>
    </dsp:sp>
    <dsp:sp modelId="{EC3482D0-ECFF-E041-8D18-EF6E5844C9D7}">
      <dsp:nvSpPr>
        <dsp:cNvPr id="0" name=""/>
        <dsp:cNvSpPr/>
      </dsp:nvSpPr>
      <dsp:spPr>
        <a:xfrm>
          <a:off x="9067972" y="0"/>
          <a:ext cx="1618348" cy="83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Production Go Live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Dec 6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900" kern="1200" dirty="0"/>
            <a:t>Publish dashboard to tableau </a:t>
          </a:r>
        </a:p>
      </dsp:txBody>
      <dsp:txXfrm>
        <a:off x="9092326" y="24354"/>
        <a:ext cx="1569640" cy="7827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12/13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1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AFE1B-F3B0-D351-0053-7625E6D1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44D3DD-DA33-8A5D-5FFC-7206AF6B9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E6608C-6548-264E-E60A-200106C22C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D0E68-FD86-3F9B-09DF-A6AD7385E8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558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D5346A-DD8C-5C58-0DD7-99A2F4EA5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7C511F-71F5-B8CC-5FDA-19215A4D8F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5219193-42D4-65B8-B436-C1C27DC28C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1BA8C7-E35A-15EC-5643-65635E0577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41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AFE1B-F3B0-D351-0053-7625E6D1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44D3DD-DA33-8A5D-5FFC-7206AF6B9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E6608C-6548-264E-E60A-200106C22C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D0E68-FD86-3F9B-09DF-A6AD7385E8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6224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BAFE1B-F3B0-D351-0053-7625E6D112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F44D3DD-DA33-8A5D-5FFC-7206AF6B94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E6608C-6548-264E-E60A-200106C22C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D0E68-FD86-3F9B-09DF-A6AD7385E8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173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251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1DB0C-817D-D1C1-9CA8-AF753065E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ED567-419C-5827-F1D3-B75DFF798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6947E7-726C-603B-44E4-9F7344A073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144A6-DE40-EDFD-6432-114A3410BE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1227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41DB0C-817D-D1C1-9CA8-AF753065E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4ED567-419C-5827-F1D3-B75DFF798E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46947E7-726C-603B-44E4-9F7344A073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144A6-DE40-EDFD-6432-114A3410BE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7546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8950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304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010191-A0CB-4885-8BEB-367627E64C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 dirty="0"/>
              <a:t>any masters that appear after this warning are </a:t>
            </a:r>
            <a:r>
              <a:rPr lang="en-US" sz="4267" dirty="0">
                <a:solidFill>
                  <a:srgbClr val="CD0000"/>
                </a:solidFill>
              </a:rPr>
              <a:t>rogue layouts </a:t>
            </a:r>
            <a:r>
              <a:rPr lang="en-US" sz="4267" dirty="0">
                <a:solidFill>
                  <a:srgbClr val="F9451B"/>
                </a:solidFill>
              </a:rPr>
              <a:t/>
            </a:r>
            <a:br>
              <a:rPr lang="en-US" sz="4267" dirty="0">
                <a:solidFill>
                  <a:srgbClr val="F9451B"/>
                </a:solidFill>
              </a:rPr>
            </a:br>
            <a:r>
              <a:rPr lang="en-US" sz="4267" dirty="0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ADE5"/>
              </a:gs>
              <a:gs pos="100000">
                <a:srgbClr val="00D25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8A08F9-81A3-40B0-B298-A4946C6723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1204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06FDC6-3AEF-4F15-8624-DF19A27FD1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60165E-88CB-4C4F-8D10-AE6F48290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7222" y="462622"/>
            <a:ext cx="1312590" cy="43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6625D3-6D99-42FC-9BD2-4FB7B9138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37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dirty="0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FE4B87-AB83-4304-BBDA-6963838CE43E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1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2236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71271-2672-48F6-BC19-53395FF7C06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5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1201FA-5DBA-4DE0-B906-E28ACF9BC7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62AD9-91F5-4EE5-9154-949334310311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45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16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06660-664F-4E9F-907C-C78FB8B0F8C2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36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66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04762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2747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20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5315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06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04217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96672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2176780"/>
            <a:ext cx="5181600" cy="250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 dirty="0"/>
              <a:t>any masters that appear after this warning are </a:t>
            </a:r>
            <a:r>
              <a:rPr lang="en-US" sz="4267" dirty="0">
                <a:solidFill>
                  <a:srgbClr val="CD0000"/>
                </a:solidFill>
              </a:rPr>
              <a:t>rogue layouts </a:t>
            </a:r>
            <a:r>
              <a:rPr lang="en-US" sz="4267" dirty="0">
                <a:solidFill>
                  <a:srgbClr val="F9451B"/>
                </a:solidFill>
              </a:rPr>
              <a:t/>
            </a:r>
            <a:br>
              <a:rPr lang="en-US" sz="4267" dirty="0">
                <a:solidFill>
                  <a:srgbClr val="F9451B"/>
                </a:solidFill>
              </a:rPr>
            </a:br>
            <a:r>
              <a:rPr lang="en-US" sz="4267" dirty="0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81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dirty="0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9337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  <p:extLst>
      <p:ext uri="{BB962C8B-B14F-4D97-AF65-F5344CB8AC3E}">
        <p14:creationId xmlns:p14="http://schemas.microsoft.com/office/powerpoint/2010/main" val="276578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Bringing us closer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58A5538-B5E1-44AC-8F98-62A64CCF24E0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 dirty="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1354975" y="6398435"/>
            <a:ext cx="9387680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73" r:id="rId4"/>
    <p:sldLayoutId id="2147483753" r:id="rId5"/>
    <p:sldLayoutId id="2147483699" r:id="rId6"/>
    <p:sldLayoutId id="2147483768" r:id="rId7"/>
    <p:sldLayoutId id="2147483776" r:id="rId8"/>
    <p:sldLayoutId id="2147483700" r:id="rId9"/>
    <p:sldLayoutId id="2147483702" r:id="rId10"/>
    <p:sldLayoutId id="2147483760" r:id="rId11"/>
    <p:sldLayoutId id="2147483752" r:id="rId12"/>
    <p:sldLayoutId id="2147483771" r:id="rId13"/>
    <p:sldLayoutId id="2147483775" r:id="rId14"/>
    <p:sldLayoutId id="2147483762" r:id="rId15"/>
    <p:sldLayoutId id="2147483755" r:id="rId16"/>
    <p:sldLayoutId id="2147483749" r:id="rId17"/>
    <p:sldLayoutId id="2147483769" r:id="rId18"/>
    <p:sldLayoutId id="2147483774" r:id="rId19"/>
    <p:sldLayoutId id="2147483711" r:id="rId20"/>
    <p:sldLayoutId id="2147483750" r:id="rId21"/>
    <p:sldLayoutId id="2147483777" r:id="rId22"/>
  </p:sldLayoutIdLst>
  <p:hf hd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A98120-3EF7-461E-AC34-C02BF5C3A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A98120-3EF7-461E-AC34-C02BF5C3A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95ED66-1FB5-4142-98B1-DADBDD7E74A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FC5EA-0D98-46D6-9AD5-D2066C50748C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979898" y="6279823"/>
            <a:ext cx="722376" cy="241996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6ED712-E8D1-4EA1-B8CF-F695AA915A25}"/>
              </a:ext>
            </a:extLst>
          </p:cNvPr>
          <p:cNvSpPr txBox="1">
            <a:spLocks/>
          </p:cNvSpPr>
          <p:nvPr userDrawn="1"/>
        </p:nvSpPr>
        <p:spPr>
          <a:xfrm>
            <a:off x="9332686" y="62104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18E881-30FB-451B-BCD4-27C99034D6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09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438" y="2466109"/>
            <a:ext cx="8315325" cy="969819"/>
          </a:xfrm>
        </p:spPr>
        <p:txBody>
          <a:bodyPr/>
          <a:lstStyle/>
          <a:p>
            <a:r>
              <a:rPr lang="en-US" dirty="0"/>
              <a:t>CIAM Project Upd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2438" y="4858326"/>
            <a:ext cx="5518225" cy="450791"/>
          </a:xfrm>
        </p:spPr>
        <p:txBody>
          <a:bodyPr/>
          <a:lstStyle/>
          <a:p>
            <a:r>
              <a:rPr lang="en-US" baseline="30000" dirty="0"/>
              <a:t>13th</a:t>
            </a:r>
            <a:r>
              <a:rPr lang="en-US" dirty="0"/>
              <a:t> Dec 2024</a:t>
            </a:r>
          </a:p>
        </p:txBody>
      </p:sp>
    </p:spTree>
    <p:extLst>
      <p:ext uri="{BB962C8B-B14F-4D97-AF65-F5344CB8AC3E}">
        <p14:creationId xmlns:p14="http://schemas.microsoft.com/office/powerpoint/2010/main" val="12210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Dashboard Status 22</a:t>
            </a:r>
            <a:r>
              <a:rPr lang="en-US" sz="2800" baseline="30000" dirty="0">
                <a:latin typeface="+mj-lt"/>
                <a:cs typeface="Arial" panose="020B0604020202020204" pitchFamily="34" charset="0"/>
              </a:rPr>
              <a:t>nd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 November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734594"/>
            <a:ext cx="777240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70756" y="2878695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16242" y="4421688"/>
            <a:ext cx="12161520" cy="24188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9385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50335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477773"/>
              </p:ext>
            </p:extLst>
          </p:nvPr>
        </p:nvGraphicFramePr>
        <p:xfrm>
          <a:off x="5070756" y="3166650"/>
          <a:ext cx="7121236" cy="1221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8515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692727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080649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459345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25080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48124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ion of data metric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the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 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t available now and creation of calculated field view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914759"/>
                  </a:ext>
                </a:extLst>
              </a:tr>
              <a:tr h="481249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0" y="1006769"/>
            <a:ext cx="777016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ll Market Data loaded into AWS layer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ggregated views with feedback implemented for Account and Profile Fact tables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changed Tableau dashboard data source from Athena tables to aggregated view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usiness review of CIAM dashboards planned with Matt and Elliot on 22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Nov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ta validation with the Praveen for all the identified metrics/additional KPIs to be included as part of the model (Ongoing)</a:t>
            </a:r>
          </a:p>
        </p:txBody>
      </p:sp>
      <p:sp>
        <p:nvSpPr>
          <p:cNvPr id="65" name="Flowchart: Connector 64"/>
          <p:cNvSpPr/>
          <p:nvPr/>
        </p:nvSpPr>
        <p:spPr>
          <a:xfrm>
            <a:off x="9210273" y="406474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/>
        </p:nvGraphicFramePr>
        <p:xfrm>
          <a:off x="8062271" y="1265707"/>
          <a:ext cx="4119418" cy="149642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119418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27899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7431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AM</a:t>
                      </a: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shboard: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support on building an integrated data staging layer &amp; Tableau dashboards with integration to AWS S3 with Snowflake &amp; Adobe as the source of the data to drive and integrated data layer for better BI &amp; Insights, Auto 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procedures to create Customer and Customer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tivity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 views in Tableau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86340"/>
              </p:ext>
            </p:extLst>
          </p:nvPr>
        </p:nvGraphicFramePr>
        <p:xfrm>
          <a:off x="13853" y="4719196"/>
          <a:ext cx="12163910" cy="1494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3529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126836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276437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366981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4650127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0538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L Glue Jobs Configuration,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&amp; Deployment environment for enabling the continuous data ingestion and integration 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/23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testing out the AWS glue crawlers and job scheduling basis the current access to identify/mitigate any challenges early 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lity and validation of the complete data set, any data issues may delay the timelines as the access was delayed and in progres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1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iteratively validating the new data and data refresh to ensure the data integrity and values are in line with business understanding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going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validation and alignment to the business logic/metrics leading to iterative development/changes of the BI dashboard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4/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ng with Praveen/Cox Teams to get the busines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puts and vision for continuous improvements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9428420"/>
                  </a:ext>
                </a:extLst>
              </a:tr>
            </a:tbl>
          </a:graphicData>
        </a:graphic>
      </p:graphicFrame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285715" y="513788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285715" y="5555918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071765B-C6D6-92A3-221A-9875D56950B8}"/>
              </a:ext>
            </a:extLst>
          </p:cNvPr>
          <p:cNvSpPr/>
          <p:nvPr/>
        </p:nvSpPr>
        <p:spPr>
          <a:xfrm>
            <a:off x="7285715" y="594146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28AE372A-3E9D-C961-D64B-7C0DCEECDE47}"/>
              </a:ext>
            </a:extLst>
          </p:cNvPr>
          <p:cNvSpPr/>
          <p:nvPr/>
        </p:nvSpPr>
        <p:spPr>
          <a:xfrm>
            <a:off x="7284253" y="51349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114952AB-A806-AA51-6B9A-2C686F9BE93F}"/>
              </a:ext>
            </a:extLst>
          </p:cNvPr>
          <p:cNvSpPr/>
          <p:nvPr/>
        </p:nvSpPr>
        <p:spPr>
          <a:xfrm>
            <a:off x="9210589" y="3577406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04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6767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Health Scorecard/CB Dashboard Status 22</a:t>
            </a:r>
            <a:r>
              <a:rPr lang="en-US" sz="2800" baseline="30000" dirty="0">
                <a:latin typeface="+mj-lt"/>
                <a:cs typeface="Arial" panose="020B0604020202020204" pitchFamily="34" charset="0"/>
              </a:rPr>
              <a:t>nd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 November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-2231" y="836194"/>
            <a:ext cx="7772401" cy="272136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ly Key Headlines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058975" y="3035629"/>
            <a:ext cx="7121237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oming Week Key Activities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21244" y="4781897"/>
            <a:ext cx="12161520" cy="274320"/>
          </a:xfrm>
          <a:prstGeom prst="rect">
            <a:avLst/>
          </a:prstGeom>
          <a:gradFill>
            <a:gsLst>
              <a:gs pos="0">
                <a:srgbClr val="00D5FE"/>
              </a:gs>
              <a:gs pos="71000">
                <a:srgbClr val="0190CD"/>
              </a:gs>
            </a:gsLst>
            <a:lin ang="48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77"/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&amp; Issu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9910618" y="691838"/>
          <a:ext cx="2281382" cy="2286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40691">
                  <a:extLst>
                    <a:ext uri="{9D8B030D-6E8A-4147-A177-3AD203B41FA5}">
                      <a16:colId xmlns:a16="http://schemas.microsoft.com/office/drawing/2014/main" val="1579312854"/>
                    </a:ext>
                  </a:extLst>
                </a:gridCol>
                <a:gridCol w="1140691">
                  <a:extLst>
                    <a:ext uri="{9D8B030D-6E8A-4147-A177-3AD203B41FA5}">
                      <a16:colId xmlns:a16="http://schemas.microsoft.com/office/drawing/2014/main" val="2294863911"/>
                    </a:ext>
                  </a:extLst>
                </a:gridCol>
              </a:tblGrid>
              <a:tr h="21468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oject P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EXEC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921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9910618" y="-6"/>
          <a:ext cx="2281383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727">
                  <a:extLst>
                    <a:ext uri="{9D8B030D-6E8A-4147-A177-3AD203B41FA5}">
                      <a16:colId xmlns:a16="http://schemas.microsoft.com/office/drawing/2014/main" val="2257054818"/>
                    </a:ext>
                  </a:extLst>
                </a:gridCol>
                <a:gridCol w="600364">
                  <a:extLst>
                    <a:ext uri="{9D8B030D-6E8A-4147-A177-3AD203B41FA5}">
                      <a16:colId xmlns:a16="http://schemas.microsoft.com/office/drawing/2014/main" val="381541583"/>
                    </a:ext>
                  </a:extLst>
                </a:gridCol>
                <a:gridCol w="480292">
                  <a:extLst>
                    <a:ext uri="{9D8B030D-6E8A-4147-A177-3AD203B41FA5}">
                      <a16:colId xmlns:a16="http://schemas.microsoft.com/office/drawing/2014/main" val="521123419"/>
                    </a:ext>
                  </a:extLst>
                </a:gridCol>
              </a:tblGrid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hedule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Lagging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78357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udget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Health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On Track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162980"/>
                  </a:ext>
                </a:extLst>
              </a:tr>
              <a:tr h="13854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Scope Health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fined</a:t>
                      </a: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470563"/>
                  </a:ext>
                </a:extLst>
              </a:tr>
            </a:tbl>
          </a:graphicData>
        </a:graphic>
      </p:graphicFrame>
      <p:sp>
        <p:nvSpPr>
          <p:cNvPr id="16" name="Flowchart: Connector 15"/>
          <p:cNvSpPr/>
          <p:nvPr/>
        </p:nvSpPr>
        <p:spPr>
          <a:xfrm>
            <a:off x="11880273" y="46175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lowchart: Connector 56"/>
          <p:cNvSpPr/>
          <p:nvPr/>
        </p:nvSpPr>
        <p:spPr>
          <a:xfrm>
            <a:off x="11880273" y="27014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lowchart: Connector 57"/>
          <p:cNvSpPr/>
          <p:nvPr/>
        </p:nvSpPr>
        <p:spPr>
          <a:xfrm>
            <a:off x="11880273" y="494123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5058974" y="3318651"/>
          <a:ext cx="7121237" cy="1082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80874">
                  <a:extLst>
                    <a:ext uri="{9D8B030D-6E8A-4147-A177-3AD203B41FA5}">
                      <a16:colId xmlns:a16="http://schemas.microsoft.com/office/drawing/2014/main" val="789816936"/>
                    </a:ext>
                  </a:extLst>
                </a:gridCol>
                <a:gridCol w="628073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951346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560944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19299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Key Activ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0708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t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validation of the sub metrics for the remaining features for Health Scorec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Tea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82092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pping &amp; Value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alid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KPIs/Metrics on Tableau Dashboard, Finish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Dashboards Design for all feature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05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ember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883678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-2231" y="1120922"/>
            <a:ext cx="765917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Health score dashboard: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has completed the Health Scorecard dashboards integrated directly to AWS S3 for the Smart Help Feature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dditionally BI team is working on including new metrics including the containment rates for Smart help Featur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ta team is working on the data layer for the ingestion of all the remaining self help features and derived metric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ta &amp; BI teams are working together with Praveen for the validation of metrics for both CB &amp; Health scorecard</a:t>
            </a:r>
          </a:p>
          <a:p>
            <a:endParaRPr 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CB Dashboard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ata Team has completed the Athena queries to fetch the data for BI dashboards visualization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BI team is working on 1</a:t>
            </a:r>
            <a:r>
              <a:rPr lang="en-US" sz="1050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cut dashboard to be taken to business stakeholders for review on metrics</a:t>
            </a:r>
          </a:p>
          <a:p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/>
          <p:cNvSpPr/>
          <p:nvPr/>
        </p:nvSpPr>
        <p:spPr>
          <a:xfrm>
            <a:off x="9394764" y="102741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9453" y="1020134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/>
        </p:nvGraphicFramePr>
        <p:xfrm>
          <a:off x="7770170" y="1265708"/>
          <a:ext cx="4407592" cy="16840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407592">
                  <a:extLst>
                    <a:ext uri="{9D8B030D-6E8A-4147-A177-3AD203B41FA5}">
                      <a16:colId xmlns:a16="http://schemas.microsoft.com/office/drawing/2014/main" val="644725935"/>
                    </a:ext>
                  </a:extLst>
                </a:gridCol>
              </a:tblGrid>
              <a:tr h="190675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Objectiv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914404"/>
                  </a:ext>
                </a:extLst>
              </a:tr>
              <a:tr h="1213388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</a:t>
                      </a: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ore dashboard: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 support on building an integrated data staging layer &amp; Tableau dashboards with integration to AWS S3 a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be is the source of the data.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extraction of information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design ETL procedures.</a:t>
                      </a:r>
                    </a:p>
                    <a:p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 Dashboard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upport to create a query for new metrics for dashboard. (Profile and Adoption). And create a table in Athena for visualization through Tableau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513304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534377" y="97262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1017907" y="947841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21244" y="5068588"/>
          <a:ext cx="12163910" cy="11510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7565">
                  <a:extLst>
                    <a:ext uri="{9D8B030D-6E8A-4147-A177-3AD203B41FA5}">
                      <a16:colId xmlns:a16="http://schemas.microsoft.com/office/drawing/2014/main" val="3485745838"/>
                    </a:ext>
                  </a:extLst>
                </a:gridCol>
                <a:gridCol w="1431637">
                  <a:extLst>
                    <a:ext uri="{9D8B030D-6E8A-4147-A177-3AD203B41FA5}">
                      <a16:colId xmlns:a16="http://schemas.microsoft.com/office/drawing/2014/main" val="1933349237"/>
                    </a:ext>
                  </a:extLst>
                </a:gridCol>
                <a:gridCol w="4620027">
                  <a:extLst>
                    <a:ext uri="{9D8B030D-6E8A-4147-A177-3AD203B41FA5}">
                      <a16:colId xmlns:a16="http://schemas.microsoft.com/office/drawing/2014/main" val="873321475"/>
                    </a:ext>
                  </a:extLst>
                </a:gridCol>
                <a:gridCol w="1551709">
                  <a:extLst>
                    <a:ext uri="{9D8B030D-6E8A-4147-A177-3AD203B41FA5}">
                      <a16:colId xmlns:a16="http://schemas.microsoft.com/office/drawing/2014/main" val="73775240"/>
                    </a:ext>
                  </a:extLst>
                </a:gridCol>
                <a:gridCol w="3502972">
                  <a:extLst>
                    <a:ext uri="{9D8B030D-6E8A-4147-A177-3AD203B41FA5}">
                      <a16:colId xmlns:a16="http://schemas.microsoft.com/office/drawing/2014/main" val="2160433153"/>
                    </a:ext>
                  </a:extLst>
                </a:gridCol>
              </a:tblGrid>
              <a:tr h="35859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I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ERITY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ED DATE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/UPDATES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8391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 score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Multiple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eatures have variations with the derived metrics calculation, so team has to perform addnl. due diligence 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reviewing the code in Python on Glue to fix the issu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634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457189" rtl="0" eaLnBrk="1" latinLnBrk="0" hangingPunct="1"/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Data for CB dashboard is yet to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e ingested into AWS S3 so the team will have to create ingestion and integration pipelines post data availabilit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leveraging Athena queries and Glue jobs so the development curve is less lat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633054"/>
                  </a:ext>
                </a:extLst>
              </a:tr>
            </a:tbl>
          </a:graphicData>
        </a:graphic>
      </p:graphicFrame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6BEE68F1-BCB3-CB2B-A7FC-CB9CA9606B95}"/>
              </a:ext>
            </a:extLst>
          </p:cNvPr>
          <p:cNvSpPr/>
          <p:nvPr/>
        </p:nvSpPr>
        <p:spPr>
          <a:xfrm>
            <a:off x="7858367" y="5552122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lowchart: Connector 23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7858367" y="5951683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95A7C292-1C66-DA31-D677-B46B6C5FC639}"/>
              </a:ext>
            </a:extLst>
          </p:cNvPr>
          <p:cNvSpPr/>
          <p:nvPr/>
        </p:nvSpPr>
        <p:spPr>
          <a:xfrm>
            <a:off x="9299246" y="4100623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C47DAAF6-DF74-8B1C-D2E5-FFE822791E43}"/>
              </a:ext>
            </a:extLst>
          </p:cNvPr>
          <p:cNvSpPr/>
          <p:nvPr/>
        </p:nvSpPr>
        <p:spPr>
          <a:xfrm>
            <a:off x="9303881" y="3701048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25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C2195-3FB2-68F9-1623-1286A58EE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25CADE-0B84-BD23-DCB3-098672861B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F644DB-E6C4-F1C0-29DF-F331F6CC29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1531A22F-3822-0BBD-0389-6B7C774C4562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B06D49EF-F516-5DEB-B7F5-8D085DB01BFA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3B6E64-2359-D9A3-BEF0-F4F39BE9F843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1599CC0-8E77-CA5A-0E9F-678478FCF3E8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4D5C44A-A295-E88A-B970-14A62DE23B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3303435"/>
              </p:ext>
            </p:extLst>
          </p:nvPr>
        </p:nvGraphicFramePr>
        <p:xfrm>
          <a:off x="489727" y="578216"/>
          <a:ext cx="10788282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6C290AA-09C0-BC79-482B-A1AB4AAB4D53}"/>
              </a:ext>
            </a:extLst>
          </p:cNvPr>
          <p:cNvCxnSpPr>
            <a:cxnSpLocks/>
          </p:cNvCxnSpPr>
          <p:nvPr/>
        </p:nvCxnSpPr>
        <p:spPr>
          <a:xfrm>
            <a:off x="489727" y="1939132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4B5D4D5-6E02-C837-1424-8BD4D745BB17}"/>
              </a:ext>
            </a:extLst>
          </p:cNvPr>
          <p:cNvSpPr txBox="1"/>
          <p:nvPr/>
        </p:nvSpPr>
        <p:spPr>
          <a:xfrm>
            <a:off x="1072139" y="1509629"/>
            <a:ext cx="5020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D0F180-719E-6E26-BA37-79D43CB51865}"/>
              </a:ext>
            </a:extLst>
          </p:cNvPr>
          <p:cNvSpPr/>
          <p:nvPr/>
        </p:nvSpPr>
        <p:spPr>
          <a:xfrm>
            <a:off x="4149073" y="1871060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514CE7-CB8D-A9BD-9B25-D40D4D350B33}"/>
              </a:ext>
            </a:extLst>
          </p:cNvPr>
          <p:cNvSpPr txBox="1"/>
          <p:nvPr/>
        </p:nvSpPr>
        <p:spPr>
          <a:xfrm>
            <a:off x="3947189" y="1515133"/>
            <a:ext cx="5020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6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5D807F-B388-663D-79FB-59086B1AEA70}"/>
              </a:ext>
            </a:extLst>
          </p:cNvPr>
          <p:cNvSpPr/>
          <p:nvPr/>
        </p:nvSpPr>
        <p:spPr>
          <a:xfrm>
            <a:off x="7143373" y="1873479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C9D617-A77D-8549-7554-BBF1FF633380}"/>
              </a:ext>
            </a:extLst>
          </p:cNvPr>
          <p:cNvSpPr txBox="1"/>
          <p:nvPr/>
        </p:nvSpPr>
        <p:spPr>
          <a:xfrm>
            <a:off x="6936280" y="1479824"/>
            <a:ext cx="5741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23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F75042C-7814-BAA3-3372-BF17E9DE68E2}"/>
              </a:ext>
            </a:extLst>
          </p:cNvPr>
          <p:cNvSpPr/>
          <p:nvPr/>
        </p:nvSpPr>
        <p:spPr>
          <a:xfrm>
            <a:off x="10295979" y="1871215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8A612E-0E5F-DE1B-19D3-C8B59B13BAF0}"/>
              </a:ext>
            </a:extLst>
          </p:cNvPr>
          <p:cNvSpPr txBox="1"/>
          <p:nvPr/>
        </p:nvSpPr>
        <p:spPr>
          <a:xfrm>
            <a:off x="10004988" y="1520783"/>
            <a:ext cx="5741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30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830160" y="1860028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098ED45-842C-2E23-B43A-40E0B3F8D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- Milestones and Planned Action items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9785DF7-DBD8-3B7B-BB25-677DA6FAD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9506943"/>
              </p:ext>
            </p:extLst>
          </p:nvPr>
        </p:nvGraphicFramePr>
        <p:xfrm>
          <a:off x="511730" y="2095870"/>
          <a:ext cx="11088088" cy="3890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0095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970324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318665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1318665">
                  <a:extLst>
                    <a:ext uri="{9D8B030D-6E8A-4147-A177-3AD203B41FA5}">
                      <a16:colId xmlns:a16="http://schemas.microsoft.com/office/drawing/2014/main" val="4028062753"/>
                    </a:ext>
                  </a:extLst>
                </a:gridCol>
                <a:gridCol w="3010339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3953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ctivit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325127">
                <a:tc gridSpan="5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Engineer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731533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ue Job review, Optimization opportunity, other ETL alternative identification and proposal and Alignment with Cox Infra Team for deployment on Prod and Non/Prod environment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gres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ment with Cox Infra team for Cost and Performance optimization review and approv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52832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hancement to existing data model to include additional business metrics For Ex. Emails, SMS bounce rates et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gres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Data sources and Business Log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52832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ry and Aggregate View optimization ( For existing and additional data sources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Go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325127">
                <a:tc gridSpan="5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Developme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506306"/>
                  </a:ext>
                </a:extLst>
              </a:tr>
              <a:tr h="52832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and Validation of new metrics based on enhanced data mode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Data sources and Business Log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177628"/>
                  </a:ext>
                </a:extLst>
              </a:tr>
              <a:tr h="52832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for continuous improvement from design, performance and optimization opportunit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Go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077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942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AC9A84-006A-9BD1-2BF8-E152C197B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0F2E5-A544-EA08-8BA8-B67AB0678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- Metric Gap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0BD59D-02B0-F8D5-F9A2-B72884E1BF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E79AC5-11DB-05FC-4D28-DFBC41F161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7902C3F7-96CE-7876-77DA-70A1618167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9994595"/>
              </p:ext>
            </p:extLst>
          </p:nvPr>
        </p:nvGraphicFramePr>
        <p:xfrm>
          <a:off x="323272" y="787739"/>
          <a:ext cx="11217087" cy="3599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243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1981285">
                  <a:extLst>
                    <a:ext uri="{9D8B030D-6E8A-4147-A177-3AD203B41FA5}">
                      <a16:colId xmlns:a16="http://schemas.microsoft.com/office/drawing/2014/main" val="3745118659"/>
                    </a:ext>
                  </a:extLst>
                </a:gridCol>
                <a:gridCol w="5255172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2932387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</a:tblGrid>
              <a:tr h="28377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ew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 Data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75429">
                <a:tc rowSpan="6"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ct Data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are sourced from BAU tables, need to switch too Vibe Hub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Vibe Hub Launc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27542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V Enrolled &amp; Facto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Splunk source is understated, need to update source query in Splunk and fix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’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75429">
                <a:tc vMerge="1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orized Statu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 not identified for billing permission at profile level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’25 TBD Discussing with IDM BIS team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7542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ail/SMS Bounc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 recently identifie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Dec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7542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Adoption Bucket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ces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Dec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7542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302339">
                <a:tc rowSpan="5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-Registra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 is unknown, in discussion with OSS/DS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an’25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Feb’25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30233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–Registration Pwd Ch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urce is unknown, in discussion with OSS/DS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an’25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956474"/>
                  </a:ext>
                </a:extLst>
              </a:tr>
              <a:tr h="302339">
                <a:tc vMerge="1"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line Authentica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 is being identified, once identified need to ingest into AW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17981"/>
                  </a:ext>
                </a:extLst>
              </a:tr>
              <a:tr h="30233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ine Authentication Failur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ting on DSS to move to AW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932402"/>
                  </a:ext>
                </a:extLst>
              </a:tr>
              <a:tr h="302339">
                <a:tc v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gin Methods (link/otp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 is unknown, will need to implement tracking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12792"/>
                  </a:ext>
                </a:extLst>
              </a:tr>
            </a:tbl>
          </a:graphicData>
        </a:graphic>
      </p:graphicFrame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C5E351CE-F23A-11B1-6A2F-A63E0CFB2530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BEBB1913-28DE-961C-9C2C-02935EE1DEA2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4EE287-179F-90DF-6A21-D171078576F0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6DDD9B5-950C-E493-29D6-92664C5646B8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</p:spTree>
    <p:extLst>
      <p:ext uri="{BB962C8B-B14F-4D97-AF65-F5344CB8AC3E}">
        <p14:creationId xmlns:p14="http://schemas.microsoft.com/office/powerpoint/2010/main" val="44244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C2195-3FB2-68F9-1623-1286A58EE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25CADE-0B84-BD23-DCB3-098672861B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F644DB-E6C4-F1C0-29DF-F331F6CC29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1531A22F-3822-0BBD-0389-6B7C774C4562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B06D49EF-F516-5DEB-B7F5-8D085DB01BFA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D3B6E64-2359-D9A3-BEF0-F4F39BE9F843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1599CC0-8E77-CA5A-0E9F-678478FCF3E8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4D5C44A-A295-E88A-B970-14A62DE23B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2395008"/>
              </p:ext>
            </p:extLst>
          </p:nvPr>
        </p:nvGraphicFramePr>
        <p:xfrm>
          <a:off x="489727" y="700138"/>
          <a:ext cx="11192256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6C290AA-09C0-BC79-482B-A1AB4AAB4D53}"/>
              </a:ext>
            </a:extLst>
          </p:cNvPr>
          <p:cNvCxnSpPr>
            <a:cxnSpLocks/>
          </p:cNvCxnSpPr>
          <p:nvPr/>
        </p:nvCxnSpPr>
        <p:spPr>
          <a:xfrm>
            <a:off x="489727" y="1939132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4B5D4D5-6E02-C837-1424-8BD4D745BB17}"/>
              </a:ext>
            </a:extLst>
          </p:cNvPr>
          <p:cNvSpPr txBox="1"/>
          <p:nvPr/>
        </p:nvSpPr>
        <p:spPr>
          <a:xfrm>
            <a:off x="1072139" y="1549732"/>
            <a:ext cx="6527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0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D0F180-719E-6E26-BA37-79D43CB51865}"/>
              </a:ext>
            </a:extLst>
          </p:cNvPr>
          <p:cNvSpPr/>
          <p:nvPr/>
        </p:nvSpPr>
        <p:spPr>
          <a:xfrm>
            <a:off x="4331957" y="1871060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514CE7-CB8D-A9BD-9B25-D40D4D350B33}"/>
              </a:ext>
            </a:extLst>
          </p:cNvPr>
          <p:cNvSpPr txBox="1"/>
          <p:nvPr/>
        </p:nvSpPr>
        <p:spPr>
          <a:xfrm>
            <a:off x="4158684" y="1549732"/>
            <a:ext cx="6527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7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5D807F-B388-663D-79FB-59086B1AEA70}"/>
              </a:ext>
            </a:extLst>
          </p:cNvPr>
          <p:cNvSpPr/>
          <p:nvPr/>
        </p:nvSpPr>
        <p:spPr>
          <a:xfrm>
            <a:off x="7465596" y="1873479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C9D617-A77D-8549-7554-BBF1FF633380}"/>
              </a:ext>
            </a:extLst>
          </p:cNvPr>
          <p:cNvSpPr txBox="1"/>
          <p:nvPr/>
        </p:nvSpPr>
        <p:spPr>
          <a:xfrm>
            <a:off x="7245229" y="1549732"/>
            <a:ext cx="62549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Jan 03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d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F75042C-7814-BAA3-3372-BF17E9DE68E2}"/>
              </a:ext>
            </a:extLst>
          </p:cNvPr>
          <p:cNvSpPr/>
          <p:nvPr/>
        </p:nvSpPr>
        <p:spPr>
          <a:xfrm>
            <a:off x="10478863" y="1871215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8A612E-0E5F-DE1B-19D3-C8B59B13BAF0}"/>
              </a:ext>
            </a:extLst>
          </p:cNvPr>
          <p:cNvSpPr txBox="1"/>
          <p:nvPr/>
        </p:nvSpPr>
        <p:spPr>
          <a:xfrm>
            <a:off x="10304523" y="1549732"/>
            <a:ext cx="4138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BD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1265597" y="1860028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098ED45-842C-2E23-B43A-40E0B3F8D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 smtClean="0">
                <a:latin typeface="+mj-lt"/>
                <a:cs typeface="Arial" panose="020B0604020202020204" pitchFamily="34" charset="0"/>
              </a:rPr>
              <a:t>CB &amp; Health Scorecard -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Milestones and Planned Action items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9785DF7-DBD8-3B7B-BB25-677DA6FAD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073630"/>
              </p:ext>
            </p:extLst>
          </p:nvPr>
        </p:nvGraphicFramePr>
        <p:xfrm>
          <a:off x="511730" y="2095872"/>
          <a:ext cx="11170253" cy="3816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3220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977514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328436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1328436">
                  <a:extLst>
                    <a:ext uri="{9D8B030D-6E8A-4147-A177-3AD203B41FA5}">
                      <a16:colId xmlns:a16="http://schemas.microsoft.com/office/drawing/2014/main" val="4028062753"/>
                    </a:ext>
                  </a:extLst>
                </a:gridCol>
                <a:gridCol w="3032647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40381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ctivit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tatu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332111">
                <a:tc gridSpan="5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Engineer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564546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ing a dynamic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model for the hierarchical metrics for Health Scorecar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gres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Data sources and Business Log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564546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ng the source CB &amp; Health Scorecard data into the AWS tables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gres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ment with Cox Infra team for Cost and Performance optimization review and approv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259314"/>
                  </a:ext>
                </a:extLst>
              </a:tr>
              <a:tr h="53967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ry and Aggregate View optimization ( For existing and additional data sources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an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332111">
                <a:tc gridSpan="5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</a:t>
                      </a:r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506306"/>
                  </a:ext>
                </a:extLst>
              </a:tr>
              <a:tr h="539679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au dashboard framework for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B &amp; Health Scorecar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ing a Data Staging layer for multiple calculate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ields in the excel dashboard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177628"/>
                  </a:ext>
                </a:extLst>
              </a:tr>
              <a:tr h="53967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all feature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ta into the Tableau Dashboards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gres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Data sources and Business Logic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077734"/>
                  </a:ext>
                </a:extLst>
              </a:tr>
            </a:tbl>
          </a:graphicData>
        </a:graphic>
      </p:graphicFrame>
      <p:sp>
        <p:nvSpPr>
          <p:cNvPr id="21" name="Oval 20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1262326" y="1871060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79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C2195-3FB2-68F9-1623-1286A58EE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25CADE-0B84-BD23-DCB3-098672861B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F644DB-E6C4-F1C0-29DF-F331F6CC29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4D5C44A-A295-E88A-B970-14A62DE23B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2753341"/>
              </p:ext>
            </p:extLst>
          </p:nvPr>
        </p:nvGraphicFramePr>
        <p:xfrm>
          <a:off x="498436" y="935269"/>
          <a:ext cx="10788282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6C290AA-09C0-BC79-482B-A1AB4AAB4D53}"/>
              </a:ext>
            </a:extLst>
          </p:cNvPr>
          <p:cNvCxnSpPr>
            <a:cxnSpLocks/>
          </p:cNvCxnSpPr>
          <p:nvPr/>
        </p:nvCxnSpPr>
        <p:spPr>
          <a:xfrm>
            <a:off x="498436" y="2296185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4B5D4D5-6E02-C837-1424-8BD4D745BB17}"/>
              </a:ext>
            </a:extLst>
          </p:cNvPr>
          <p:cNvSpPr txBox="1"/>
          <p:nvPr/>
        </p:nvSpPr>
        <p:spPr>
          <a:xfrm>
            <a:off x="1080848" y="1857356"/>
            <a:ext cx="6976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3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D0F180-719E-6E26-BA37-79D43CB51865}"/>
              </a:ext>
            </a:extLst>
          </p:cNvPr>
          <p:cNvSpPr/>
          <p:nvPr/>
        </p:nvSpPr>
        <p:spPr>
          <a:xfrm>
            <a:off x="4323248" y="2228113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514CE7-CB8D-A9BD-9B25-D40D4D350B33}"/>
              </a:ext>
            </a:extLst>
          </p:cNvPr>
          <p:cNvSpPr txBox="1"/>
          <p:nvPr/>
        </p:nvSpPr>
        <p:spPr>
          <a:xfrm>
            <a:off x="4099608" y="1857356"/>
            <a:ext cx="6976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7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5D807F-B388-663D-79FB-59086B1AEA70}"/>
              </a:ext>
            </a:extLst>
          </p:cNvPr>
          <p:cNvSpPr/>
          <p:nvPr/>
        </p:nvSpPr>
        <p:spPr>
          <a:xfrm>
            <a:off x="7291421" y="2230532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C9D617-A77D-8549-7554-BBF1FF633380}"/>
              </a:ext>
            </a:extLst>
          </p:cNvPr>
          <p:cNvSpPr txBox="1"/>
          <p:nvPr/>
        </p:nvSpPr>
        <p:spPr>
          <a:xfrm>
            <a:off x="7118368" y="1857356"/>
            <a:ext cx="6527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15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F75042C-7814-BAA3-3372-BF17E9DE68E2}"/>
              </a:ext>
            </a:extLst>
          </p:cNvPr>
          <p:cNvSpPr/>
          <p:nvPr/>
        </p:nvSpPr>
        <p:spPr>
          <a:xfrm>
            <a:off x="10139223" y="2228268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8A612E-0E5F-DE1B-19D3-C8B59B13BAF0}"/>
              </a:ext>
            </a:extLst>
          </p:cNvPr>
          <p:cNvSpPr txBox="1"/>
          <p:nvPr/>
        </p:nvSpPr>
        <p:spPr>
          <a:xfrm>
            <a:off x="10013697" y="1857356"/>
            <a:ext cx="6848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30</a:t>
            </a:r>
            <a:r>
              <a:rPr lang="en-US" sz="11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1365653" y="2233944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098ED45-842C-2E23-B43A-40E0B3F8D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 smtClean="0">
                <a:latin typeface="+mj-lt"/>
                <a:cs typeface="Arial" panose="020B0604020202020204" pitchFamily="34" charset="0"/>
              </a:rPr>
              <a:t>UAT Testing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Project 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- Milestones and Planned Action items </a:t>
            </a:r>
            <a:endParaRPr lang="en-US" sz="2800" dirty="0"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9785DF7-DBD8-3B7B-BB25-677DA6FAD4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162092"/>
              </p:ext>
            </p:extLst>
          </p:nvPr>
        </p:nvGraphicFramePr>
        <p:xfrm>
          <a:off x="520439" y="2452925"/>
          <a:ext cx="10766278" cy="33068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7517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939438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2072640">
                  <a:extLst>
                    <a:ext uri="{9D8B030D-6E8A-4147-A177-3AD203B41FA5}">
                      <a16:colId xmlns:a16="http://schemas.microsoft.com/office/drawing/2014/main" val="2002253550"/>
                    </a:ext>
                  </a:extLst>
                </a:gridCol>
                <a:gridCol w="1513614">
                  <a:extLst>
                    <a:ext uri="{9D8B030D-6E8A-4147-A177-3AD203B41FA5}">
                      <a16:colId xmlns:a16="http://schemas.microsoft.com/office/drawing/2014/main" val="65973005"/>
                    </a:ext>
                  </a:extLst>
                </a:gridCol>
                <a:gridCol w="2423069">
                  <a:extLst>
                    <a:ext uri="{9D8B030D-6E8A-4147-A177-3AD203B41FA5}">
                      <a16:colId xmlns:a16="http://schemas.microsoft.com/office/drawing/2014/main" val="3790413650"/>
                    </a:ext>
                  </a:extLst>
                </a:gridCol>
              </a:tblGrid>
              <a:tr h="35903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ctiviti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arget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tatu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95287">
                <a:tc gridSpan="5"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au UAT Testing</a:t>
                      </a:r>
                      <a:endParaRPr lang="en-US" sz="10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664395">
                <a:tc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 all the 11 identified dashboards to dev server and refresh the data sources till the most current dates available in data tabl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 Team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to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Tableau dev servers, share point and the UAT tracker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479840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parity testing of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ll the dashboards,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ews, worksheets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the metrics between the dev and the prod server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I Team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to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Tableau dev &amp; prod servers to do parity analysi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47984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e with the data teams for ope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ssues and keep sharing the deltas and issues identified with data parity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I Team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ally refresh the data as the dev server extrac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cheduling is not working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95287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rate the parity testing and identificatio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metrics with gaps and complete the validation &amp; UAT testing proces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I Team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r>
                        <a:rPr lang="en-US" sz="1000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Progress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io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ongoing data updates and successful refresh of the data in tableau dev server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506306"/>
                  </a:ext>
                </a:extLst>
              </a:tr>
              <a:tr h="479840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team with the production deployment and provide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upport on any issues identified 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I Team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177628"/>
                  </a:ext>
                </a:extLst>
              </a:tr>
            </a:tbl>
          </a:graphicData>
        </a:graphic>
      </p:graphicFrame>
      <p:sp>
        <p:nvSpPr>
          <p:cNvPr id="22" name="Oval 21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1365653" y="2246540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4319426" y="2228113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087F9BE-9686-F9FC-EB93-F2DF36308B1A}"/>
              </a:ext>
            </a:extLst>
          </p:cNvPr>
          <p:cNvSpPr/>
          <p:nvPr/>
        </p:nvSpPr>
        <p:spPr>
          <a:xfrm>
            <a:off x="7287879" y="2229122"/>
            <a:ext cx="128016" cy="128016"/>
          </a:xfrm>
          <a:prstGeom prst="ellipse">
            <a:avLst/>
          </a:prstGeom>
          <a:solidFill>
            <a:srgbClr val="FC9318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lowchart: Connector 24">
            <a:extLst>
              <a:ext uri="{FF2B5EF4-FFF2-40B4-BE49-F238E27FC236}">
                <a16:creationId xmlns:a16="http://schemas.microsoft.com/office/drawing/2014/main" id="{1531A22F-3822-0BBD-0389-6B7C774C4562}"/>
              </a:ext>
            </a:extLst>
          </p:cNvPr>
          <p:cNvSpPr/>
          <p:nvPr/>
        </p:nvSpPr>
        <p:spPr>
          <a:xfrm>
            <a:off x="9974314" y="107039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B06D49EF-F516-5DEB-B7F5-8D085DB01BFA}"/>
              </a:ext>
            </a:extLst>
          </p:cNvPr>
          <p:cNvSpPr/>
          <p:nvPr/>
        </p:nvSpPr>
        <p:spPr>
          <a:xfrm>
            <a:off x="10898741" y="107039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D3B6E64-2359-D9A3-BEF0-F4F39BE9F843}"/>
              </a:ext>
            </a:extLst>
          </p:cNvPr>
          <p:cNvSpPr txBox="1"/>
          <p:nvPr/>
        </p:nvSpPr>
        <p:spPr>
          <a:xfrm>
            <a:off x="10071887" y="60203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edium Risk 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599CC0-8E77-CA5A-0E9F-678478FCF3E8}"/>
              </a:ext>
            </a:extLst>
          </p:cNvPr>
          <p:cNvSpPr txBox="1"/>
          <p:nvPr/>
        </p:nvSpPr>
        <p:spPr>
          <a:xfrm>
            <a:off x="10991419" y="60203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ow Risk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6015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2778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3B3D9-5974-6DF1-41E8-FE8BB3E28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Milestones – 13</a:t>
            </a:r>
            <a:r>
              <a:rPr lang="en-US" sz="2800" baseline="30000" dirty="0">
                <a:latin typeface="+mj-lt"/>
                <a:cs typeface="Arial" panose="020B0604020202020204" pitchFamily="34" charset="0"/>
              </a:rPr>
              <a:t>th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 December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F66A7C-FACA-CDF4-CE52-E253CDBB6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828501-58BA-692E-22E4-583AADE806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454957"/>
              </p:ext>
            </p:extLst>
          </p:nvPr>
        </p:nvGraphicFramePr>
        <p:xfrm>
          <a:off x="240781" y="2147618"/>
          <a:ext cx="11710437" cy="437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068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889134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1208327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2758454">
                  <a:extLst>
                    <a:ext uri="{9D8B030D-6E8A-4147-A177-3AD203B41FA5}">
                      <a16:colId xmlns:a16="http://schemas.microsoft.com/office/drawing/2014/main" val="358449491"/>
                    </a:ext>
                  </a:extLst>
                </a:gridCol>
                <a:gridCol w="2758454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121233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Mileston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Target Da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rogress This Week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199227">
                <a:tc gridSpan="5"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199227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site = 186, correct metric calcul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rics validated/feedbacks work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w metrics are WIP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all markets data for last 13 months in sandbox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S Infra challenges and aggregated view development delay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tch tableau dashboard to new view and validate metric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shboard switched to aggregated view. Metrics re-formation and data validation WIP. ETA 21st Nov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e glue job to incremental data loa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790582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all sites, correct metric calculation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into the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offline metrics to tables and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/log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e on the pending metric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/log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240284">
                <a:tc gridSpan="5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 Dashboar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4506306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site = 186, correct metric calcul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w metrics are WIP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data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177628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 all markets data for last 13 months in sandbox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umes of data and processing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s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077734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tch tableau dashboard to new view and validate metric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ailability of the complete data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switch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10196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gn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business on pending derived metrics source/logic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v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ed some inputs from business as well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564511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idate numbers for all sites, correct metric calculation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0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c 20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d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into the tabl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27420"/>
                  </a:ext>
                </a:extLst>
              </a:tr>
              <a:tr h="240284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e on the pending metric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/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t to star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veen to confirm source data/log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420445"/>
                  </a:ext>
                </a:extLst>
              </a:tr>
            </a:tbl>
          </a:graphicData>
        </a:graphic>
      </p:graphicFrame>
      <p:sp>
        <p:nvSpPr>
          <p:cNvPr id="66" name="Flowchart: Connector 65"/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/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CC6679B6-D679-9FF0-7A95-D2A29E24CD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6503787"/>
              </p:ext>
            </p:extLst>
          </p:nvPr>
        </p:nvGraphicFramePr>
        <p:xfrm>
          <a:off x="586468" y="829131"/>
          <a:ext cx="10691542" cy="831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FA280F3-21B8-0D16-AF7C-5EB5BAE2E006}"/>
              </a:ext>
            </a:extLst>
          </p:cNvPr>
          <p:cNvCxnSpPr>
            <a:cxnSpLocks/>
          </p:cNvCxnSpPr>
          <p:nvPr/>
        </p:nvCxnSpPr>
        <p:spPr>
          <a:xfrm>
            <a:off x="586468" y="2054300"/>
            <a:ext cx="1078828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B806BED7-3331-1FCD-AEA1-528D85E84368}"/>
              </a:ext>
            </a:extLst>
          </p:cNvPr>
          <p:cNvSpPr/>
          <p:nvPr/>
        </p:nvSpPr>
        <p:spPr>
          <a:xfrm>
            <a:off x="956440" y="1980724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4AD573-0A83-6DDE-E196-F04BABB8268F}"/>
              </a:ext>
            </a:extLst>
          </p:cNvPr>
          <p:cNvSpPr txBox="1"/>
          <p:nvPr/>
        </p:nvSpPr>
        <p:spPr>
          <a:xfrm>
            <a:off x="769075" y="1719114"/>
            <a:ext cx="5148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4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ECA5A89-A1CC-3CD0-3A16-02BC751CF777}"/>
              </a:ext>
            </a:extLst>
          </p:cNvPr>
          <p:cNvSpPr/>
          <p:nvPr/>
        </p:nvSpPr>
        <p:spPr>
          <a:xfrm>
            <a:off x="2782774" y="1986228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8A955-3415-10AA-BC13-1CEDDD58E33D}"/>
              </a:ext>
            </a:extLst>
          </p:cNvPr>
          <p:cNvSpPr txBox="1"/>
          <p:nvPr/>
        </p:nvSpPr>
        <p:spPr>
          <a:xfrm>
            <a:off x="2537701" y="1724618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1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E6B0DC2-DA8D-B8EF-9BCF-F91FFFAACD6D}"/>
              </a:ext>
            </a:extLst>
          </p:cNvPr>
          <p:cNvSpPr/>
          <p:nvPr/>
        </p:nvSpPr>
        <p:spPr>
          <a:xfrm>
            <a:off x="4609108" y="1980724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D5EA62-C06E-63D1-6087-47ED2E12EAD5}"/>
              </a:ext>
            </a:extLst>
          </p:cNvPr>
          <p:cNvSpPr txBox="1"/>
          <p:nvPr/>
        </p:nvSpPr>
        <p:spPr>
          <a:xfrm>
            <a:off x="4378462" y="1719114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18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A2ED53C-88E7-D1A5-5F80-BCD2DB8D8B68}"/>
              </a:ext>
            </a:extLst>
          </p:cNvPr>
          <p:cNvSpPr/>
          <p:nvPr/>
        </p:nvSpPr>
        <p:spPr>
          <a:xfrm>
            <a:off x="6435442" y="1956897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763A31-9247-B66F-3BEF-B1107347B486}"/>
              </a:ext>
            </a:extLst>
          </p:cNvPr>
          <p:cNvSpPr txBox="1"/>
          <p:nvPr/>
        </p:nvSpPr>
        <p:spPr>
          <a:xfrm>
            <a:off x="6219223" y="1695287"/>
            <a:ext cx="5870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Nov 2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54DC06E-8B4C-92A8-A34A-1F62CB158312}"/>
              </a:ext>
            </a:extLst>
          </p:cNvPr>
          <p:cNvSpPr/>
          <p:nvPr/>
        </p:nvSpPr>
        <p:spPr>
          <a:xfrm>
            <a:off x="8261776" y="1960983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5363342-108F-ED2E-7A5C-A7F7E03D4AA8}"/>
              </a:ext>
            </a:extLst>
          </p:cNvPr>
          <p:cNvSpPr txBox="1"/>
          <p:nvPr/>
        </p:nvSpPr>
        <p:spPr>
          <a:xfrm>
            <a:off x="8059984" y="1699373"/>
            <a:ext cx="5020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8F39EDB-B3D1-6DDD-1132-5592EDD44E71}"/>
              </a:ext>
            </a:extLst>
          </p:cNvPr>
          <p:cNvSpPr/>
          <p:nvPr/>
        </p:nvSpPr>
        <p:spPr>
          <a:xfrm>
            <a:off x="10088110" y="1980724"/>
            <a:ext cx="128016" cy="128016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4E52A43-55FC-4CD6-66C7-36BA2A21605E}"/>
              </a:ext>
            </a:extLst>
          </p:cNvPr>
          <p:cNvSpPr txBox="1"/>
          <p:nvPr/>
        </p:nvSpPr>
        <p:spPr>
          <a:xfrm>
            <a:off x="9900745" y="1719114"/>
            <a:ext cx="5020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c 6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FAAE7A1-5331-9FA0-D8AB-B3668ED6CF8B}"/>
              </a:ext>
            </a:extLst>
          </p:cNvPr>
          <p:cNvSpPr/>
          <p:nvPr/>
        </p:nvSpPr>
        <p:spPr>
          <a:xfrm>
            <a:off x="2780486" y="1984333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4F7D291-91B2-EB59-8A05-3BE225FF9FA2}"/>
              </a:ext>
            </a:extLst>
          </p:cNvPr>
          <p:cNvSpPr/>
          <p:nvPr/>
        </p:nvSpPr>
        <p:spPr>
          <a:xfrm>
            <a:off x="4598647" y="1973702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9EE6012-0013-C469-F276-1177604AC792}"/>
              </a:ext>
            </a:extLst>
          </p:cNvPr>
          <p:cNvSpPr/>
          <p:nvPr/>
        </p:nvSpPr>
        <p:spPr>
          <a:xfrm>
            <a:off x="6429431" y="1954422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ACF1C57-AE54-7573-FBF3-4B12D5888CDA}"/>
              </a:ext>
            </a:extLst>
          </p:cNvPr>
          <p:cNvSpPr/>
          <p:nvPr/>
        </p:nvSpPr>
        <p:spPr>
          <a:xfrm>
            <a:off x="10102343" y="1979798"/>
            <a:ext cx="128016" cy="128016"/>
          </a:xfrm>
          <a:prstGeom prst="ellipse">
            <a:avLst/>
          </a:prstGeom>
          <a:solidFill>
            <a:srgbClr val="3DC353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193E4313-9396-3656-E3A6-88447E47B192}"/>
              </a:ext>
            </a:extLst>
          </p:cNvPr>
          <p:cNvSpPr/>
          <p:nvPr/>
        </p:nvSpPr>
        <p:spPr>
          <a:xfrm>
            <a:off x="8264213" y="1956590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0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7C1EA-7477-EFD8-ACE4-9AF8A9892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65747-F09D-9734-214B-753C030F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Status – 22</a:t>
            </a:r>
            <a:r>
              <a:rPr lang="en-US" sz="2800" baseline="30000" dirty="0">
                <a:latin typeface="+mj-lt"/>
                <a:cs typeface="Arial" panose="020B0604020202020204" pitchFamily="34" charset="0"/>
              </a:rPr>
              <a:t>nd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 November 2024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DAA894-E806-37E0-20B3-822428189F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9BAA1-7ABE-0E8B-2CE7-909155A05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FC0FC96-470A-D740-8E2E-5B2DC8D38E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365357"/>
              </p:ext>
            </p:extLst>
          </p:nvPr>
        </p:nvGraphicFramePr>
        <p:xfrm>
          <a:off x="323272" y="787739"/>
          <a:ext cx="11443855" cy="55016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639">
                  <a:extLst>
                    <a:ext uri="{9D8B030D-6E8A-4147-A177-3AD203B41FA5}">
                      <a16:colId xmlns:a16="http://schemas.microsoft.com/office/drawing/2014/main" val="3347525149"/>
                    </a:ext>
                  </a:extLst>
                </a:gridCol>
                <a:gridCol w="5343144">
                  <a:extLst>
                    <a:ext uri="{9D8B030D-6E8A-4147-A177-3AD203B41FA5}">
                      <a16:colId xmlns:a16="http://schemas.microsoft.com/office/drawing/2014/main" val="3745118659"/>
                    </a:ext>
                  </a:extLst>
                </a:gridCol>
                <a:gridCol w="1108363">
                  <a:extLst>
                    <a:ext uri="{9D8B030D-6E8A-4147-A177-3AD203B41FA5}">
                      <a16:colId xmlns:a16="http://schemas.microsoft.com/office/drawing/2014/main" val="3252717785"/>
                    </a:ext>
                  </a:extLst>
                </a:gridCol>
                <a:gridCol w="868218">
                  <a:extLst>
                    <a:ext uri="{9D8B030D-6E8A-4147-A177-3AD203B41FA5}">
                      <a16:colId xmlns:a16="http://schemas.microsoft.com/office/drawing/2014/main" val="1224448240"/>
                    </a:ext>
                  </a:extLst>
                </a:gridCol>
                <a:gridCol w="2715491">
                  <a:extLst>
                    <a:ext uri="{9D8B030D-6E8A-4147-A177-3AD203B41FA5}">
                      <a16:colId xmlns:a16="http://schemas.microsoft.com/office/drawing/2014/main" val="1645571519"/>
                    </a:ext>
                  </a:extLst>
                </a:gridCol>
              </a:tblGrid>
              <a:tr h="28377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Pending Task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Own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Target Data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Challenges/Dependenci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490211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ount Di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i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10357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105720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060635"/>
                  </a:ext>
                </a:extLst>
              </a:tr>
              <a:tr h="29675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00959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669221"/>
                  </a:ext>
                </a:extLst>
              </a:tr>
              <a:tr h="27542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95265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17333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ile Di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stion of data of 13 months is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progress and timing out in Athena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X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Account Dim) records are to be ingested into AWS, Athen is timing out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17981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am is working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ingest data in batches/partitions and other alternative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 Athena time out as an exce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93240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1279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120984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be Daily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 ingested without the time key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05447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844665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108134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 Daily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 ingested without the time key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83608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909212"/>
                  </a:ext>
                </a:extLst>
              </a:tr>
              <a:tr h="302339"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h User Fa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 ingested without the time key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tal/Goku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192651"/>
                  </a:ext>
                </a:extLst>
              </a:tr>
            </a:tbl>
          </a:graphicData>
        </a:graphic>
      </p:graphicFrame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43422150-0BEA-758F-310B-B3DC2D2B0E6E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1407D37-265B-246A-2F5F-AAFADA542028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D56523-2397-7D97-BED2-6B70527C6BDC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B006EF-6F39-65EC-E27D-CE003265D113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</p:spTree>
    <p:extLst>
      <p:ext uri="{BB962C8B-B14F-4D97-AF65-F5344CB8AC3E}">
        <p14:creationId xmlns:p14="http://schemas.microsoft.com/office/powerpoint/2010/main" val="32785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D7C1EA-7477-EFD8-ACE4-9AF8A98928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65747-F09D-9734-214B-753C030F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14" y="85288"/>
            <a:ext cx="11531969" cy="463610"/>
          </a:xfrm>
        </p:spPr>
        <p:txBody>
          <a:bodyPr/>
          <a:lstStyle/>
          <a:p>
            <a:r>
              <a:rPr lang="en-US" sz="2800" dirty="0">
                <a:latin typeface="+mj-lt"/>
                <a:cs typeface="Arial" panose="020B0604020202020204" pitchFamily="34" charset="0"/>
              </a:rPr>
              <a:t>CIAM Project Gantt. Status – 22</a:t>
            </a:r>
            <a:r>
              <a:rPr lang="en-US" sz="2800" baseline="30000" dirty="0">
                <a:latin typeface="+mj-lt"/>
                <a:cs typeface="Arial" panose="020B0604020202020204" pitchFamily="34" charset="0"/>
              </a:rPr>
              <a:t>nd</a:t>
            </a:r>
            <a:r>
              <a:rPr lang="en-US" sz="2800" dirty="0">
                <a:latin typeface="+mj-lt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rgbClr val="285A93"/>
                </a:solidFill>
                <a:latin typeface="Calibri Light" panose="020F0302020204030204"/>
                <a:cs typeface="Arial" panose="020B0604020202020204" pitchFamily="34" charset="0"/>
              </a:rPr>
              <a:t>November 2024</a:t>
            </a:r>
            <a:endParaRPr lang="en-US" sz="28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DAA894-E806-37E0-20B3-822428189F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9BAA1-7ABE-0E8B-2CE7-909155A05F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43422150-0BEA-758F-310B-B3DC2D2B0E6E}"/>
              </a:ext>
            </a:extLst>
          </p:cNvPr>
          <p:cNvSpPr/>
          <p:nvPr/>
        </p:nvSpPr>
        <p:spPr>
          <a:xfrm>
            <a:off x="9390837" y="114606"/>
            <a:ext cx="137160" cy="137160"/>
          </a:xfrm>
          <a:prstGeom prst="flowChartConnector">
            <a:avLst/>
          </a:prstGeom>
          <a:solidFill>
            <a:srgbClr val="FC9318"/>
          </a:solidFill>
          <a:ln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id="{11407D37-265B-246A-2F5F-AAFADA542028}"/>
              </a:ext>
            </a:extLst>
          </p:cNvPr>
          <p:cNvSpPr/>
          <p:nvPr/>
        </p:nvSpPr>
        <p:spPr>
          <a:xfrm>
            <a:off x="10785526" y="117831"/>
            <a:ext cx="137160" cy="13716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D56523-2397-7D97-BED2-6B70527C6BDC}"/>
              </a:ext>
            </a:extLst>
          </p:cNvPr>
          <p:cNvSpPr txBox="1"/>
          <p:nvPr/>
        </p:nvSpPr>
        <p:spPr>
          <a:xfrm>
            <a:off x="9488410" y="70325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agging as Per Pla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B006EF-6F39-65EC-E27D-CE003265D113}"/>
              </a:ext>
            </a:extLst>
          </p:cNvPr>
          <p:cNvSpPr txBox="1"/>
          <p:nvPr/>
        </p:nvSpPr>
        <p:spPr>
          <a:xfrm>
            <a:off x="10878204" y="67498"/>
            <a:ext cx="11637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On Track as Per Plan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8728100"/>
              </p:ext>
            </p:extLst>
          </p:nvPr>
        </p:nvGraphicFramePr>
        <p:xfrm>
          <a:off x="396443" y="854448"/>
          <a:ext cx="11192613" cy="5149189"/>
        </p:xfrm>
        <a:graphic>
          <a:graphicData uri="http://schemas.openxmlformats.org/drawingml/2006/table">
            <a:tbl>
              <a:tblPr firstRow="1" firstCol="1" bandRow="1"/>
              <a:tblGrid>
                <a:gridCol w="1621909">
                  <a:extLst>
                    <a:ext uri="{9D8B030D-6E8A-4147-A177-3AD203B41FA5}">
                      <a16:colId xmlns:a16="http://schemas.microsoft.com/office/drawing/2014/main" val="2772420419"/>
                    </a:ext>
                  </a:extLst>
                </a:gridCol>
                <a:gridCol w="1621909">
                  <a:extLst>
                    <a:ext uri="{9D8B030D-6E8A-4147-A177-3AD203B41FA5}">
                      <a16:colId xmlns:a16="http://schemas.microsoft.com/office/drawing/2014/main" val="2618318924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974654839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711473444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10451774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265653532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798541391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84574436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464322797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260005292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79758082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2390239122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2308243515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941078327"/>
                    </a:ext>
                  </a:extLst>
                </a:gridCol>
                <a:gridCol w="379883">
                  <a:extLst>
                    <a:ext uri="{9D8B030D-6E8A-4147-A177-3AD203B41FA5}">
                      <a16:colId xmlns:a16="http://schemas.microsoft.com/office/drawing/2014/main" val="94522707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651852523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642752921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1711937535"/>
                    </a:ext>
                  </a:extLst>
                </a:gridCol>
                <a:gridCol w="473057">
                  <a:extLst>
                    <a:ext uri="{9D8B030D-6E8A-4147-A177-3AD203B41FA5}">
                      <a16:colId xmlns:a16="http://schemas.microsoft.com/office/drawing/2014/main" val="3184623783"/>
                    </a:ext>
                  </a:extLst>
                </a:gridCol>
              </a:tblGrid>
              <a:tr h="342263">
                <a:tc grid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Activitie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2-Au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9-Au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6-Au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-Sep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9-Sep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6-Sep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3-Sep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30-Sep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7-Oc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4-Oc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1-Oc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8-Oc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4-Nov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1-Nov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18-Nov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25-Nov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6-Dec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351193"/>
                  </a:ext>
                </a:extLst>
              </a:tr>
              <a:tr h="342263">
                <a:tc rowSpan="8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Engineerin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Individual Accesses &amp; Azure AVD set up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149"/>
                  </a:ext>
                </a:extLst>
              </a:tr>
              <a:tr h="5099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Discovery &amp; Requirement Gatherin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7447616"/>
                  </a:ext>
                </a:extLst>
              </a:tr>
              <a:tr h="5099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Accesses and Environment Setup (AWS)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1630649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Build Data Framework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109680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Data Validation 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1693005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Data Transformation Flow (ETL)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5674731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Scheduling and Automation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334441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Monitorin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796669"/>
                  </a:ext>
                </a:extLst>
              </a:tr>
              <a:tr h="342263">
                <a:tc rowSpan="6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Visualization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Business Goals &amp; Data Sampl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3741309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Design Template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7539897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Stakeholder Review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2387753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Developmen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6731752"/>
                  </a:ext>
                </a:extLst>
              </a:tr>
              <a:tr h="2889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Validation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31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01788"/>
                  </a:ext>
                </a:extLst>
              </a:tr>
              <a:tr h="3422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Deployment &amp; Suppor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Aptos"/>
                          <a:ea typeface="Calibri" panose="020F050202020403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5" marR="6585" marT="65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119548"/>
                  </a:ext>
                </a:extLst>
              </a:tr>
            </a:tbl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396443" y="85444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ptos" charset="0"/>
                <a:ea typeface="Calibri" panose="020F0502020204030204" pitchFamily="34" charset="0"/>
              </a:rPr>
              <a:t> 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41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UEH2J4HibCRnIGpAbFA"/>
</p:tagLst>
</file>

<file path=ppt/theme/theme1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2.xml><?xml version="1.0" encoding="utf-8"?>
<a:theme xmlns:a="http://schemas.openxmlformats.org/drawingml/2006/main" name="2_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Template" id="{9D7ED8C9-5839-4D45-847A-830E5890C0E9}" vid="{462980A9-AAA7-F748-89EF-9F306C11259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b69f1d-ead9-4f3d-aa02-a5292de2edf1">
      <Terms xmlns="http://schemas.microsoft.com/office/infopath/2007/PartnerControls"/>
    </lcf76f155ced4ddcb4097134ff3c332f>
    <TaxCatchAll xmlns="6b02dde0-9120-4d29-843e-f6bda0c0a5d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6262C325E63C4996D03021E06489BC" ma:contentTypeVersion="11" ma:contentTypeDescription="Create a new document." ma:contentTypeScope="" ma:versionID="e3e202fb0db87ec119a9013ce38f22ea">
  <xsd:schema xmlns:xsd="http://www.w3.org/2001/XMLSchema" xmlns:xs="http://www.w3.org/2001/XMLSchema" xmlns:p="http://schemas.microsoft.com/office/2006/metadata/properties" xmlns:ns2="80b69f1d-ead9-4f3d-aa02-a5292de2edf1" xmlns:ns3="6b02dde0-9120-4d29-843e-f6bda0c0a5d5" targetNamespace="http://schemas.microsoft.com/office/2006/metadata/properties" ma:root="true" ma:fieldsID="89b7384d0103bd788a0a0e93e1913e24" ns2:_="" ns3:_="">
    <xsd:import namespace="80b69f1d-ead9-4f3d-aa02-a5292de2edf1"/>
    <xsd:import namespace="6b02dde0-9120-4d29-843e-f6bda0c0a5d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b69f1d-ead9-4f3d-aa02-a5292de2ed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1b9a2b0-d64c-4e95-80ab-8818a25a5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02dde0-9120-4d29-843e-f6bda0c0a5d5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23c0f1cb-7a1d-42db-989d-7c95dd2aea34}" ma:internalName="TaxCatchAll" ma:showField="CatchAllData" ma:web="6b02dde0-9120-4d29-843e-f6bda0c0a5d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90CAD8-6F0C-42A0-89AB-C66F740BF3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C13AF2-E39A-4FD2-B967-9FAE27A81BE6}">
  <ds:schemaRefs>
    <ds:schemaRef ds:uri="80b69f1d-ead9-4f3d-aa02-a5292de2edf1"/>
    <ds:schemaRef ds:uri="http://purl.org/dc/elements/1.1/"/>
    <ds:schemaRef ds:uri="http://www.w3.org/XML/1998/namespace"/>
    <ds:schemaRef ds:uri="http://schemas.microsoft.com/office/2006/documentManagement/types"/>
    <ds:schemaRef ds:uri="6b02dde0-9120-4d29-843e-f6bda0c0a5d5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3C4EEA6-4AC2-43D9-BAD3-2815A4EC7F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b69f1d-ead9-4f3d-aa02-a5292de2edf1"/>
    <ds:schemaRef ds:uri="6b02dde0-9120-4d29-843e-f6bda0c0a5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1</TotalTime>
  <Words>2397</Words>
  <Application>Microsoft Office PowerPoint</Application>
  <PresentationFormat>Widescreen</PresentationFormat>
  <Paragraphs>659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Aptos</vt:lpstr>
      <vt:lpstr>Arial</vt:lpstr>
      <vt:lpstr>Calibri</vt:lpstr>
      <vt:lpstr>Calibri Light</vt:lpstr>
      <vt:lpstr>Proxima Nova</vt:lpstr>
      <vt:lpstr>Proxima Nova Black</vt:lpstr>
      <vt:lpstr>Proxima Nova Light</vt:lpstr>
      <vt:lpstr>Segoe UI</vt:lpstr>
      <vt:lpstr>Times New Roman</vt:lpstr>
      <vt:lpstr>Wingdings</vt:lpstr>
      <vt:lpstr>Cox Communications 2019 Template (16x9)</vt:lpstr>
      <vt:lpstr>2_Cox Communications 2019 Template (16x9)</vt:lpstr>
      <vt:lpstr>think-cell Slide</vt:lpstr>
      <vt:lpstr>CIAM Project Updates</vt:lpstr>
      <vt:lpstr>CIAM Project - Milestones and Planned Action items </vt:lpstr>
      <vt:lpstr>CIAM Project - Metric Gaps</vt:lpstr>
      <vt:lpstr>CB &amp; Health Scorecard - Milestones and Planned Action items </vt:lpstr>
      <vt:lpstr>UAT Testing Project - Milestones and Planned Action items </vt:lpstr>
      <vt:lpstr>Thank You</vt:lpstr>
      <vt:lpstr>CIAM Project Milestones – 13th December 2024 </vt:lpstr>
      <vt:lpstr>CIAM Project Status – 22nd November 2024 </vt:lpstr>
      <vt:lpstr>CIAM Project Gantt. Status – 22nd November 2024</vt:lpstr>
      <vt:lpstr>CIAM Dashboard Status 22nd November 2024 </vt:lpstr>
      <vt:lpstr>Health Scorecard/CB Dashboard Status 22nd November 2024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ois (CCI-Atlanta)</dc:creator>
  <cp:lastModifiedBy>Harvinder Singh59</cp:lastModifiedBy>
  <cp:revision>147</cp:revision>
  <cp:lastPrinted>2023-03-15T15:20:58Z</cp:lastPrinted>
  <dcterms:created xsi:type="dcterms:W3CDTF">2016-12-14T14:35:04Z</dcterms:created>
  <dcterms:modified xsi:type="dcterms:W3CDTF">2024-12-13T14:1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6262C325E63C4996D03021E06489BC</vt:lpwstr>
  </property>
</Properties>
</file>